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97015" autoAdjust="0"/>
  </p:normalViewPr>
  <p:slideViewPr>
    <p:cSldViewPr snapToObjects="1">
      <p:cViewPr>
        <p:scale>
          <a:sx n="74" d="100"/>
          <a:sy n="74" d="100"/>
        </p:scale>
        <p:origin x="837" y="223"/>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Barnes" userId="b303a15ee67145ed" providerId="LiveId" clId="{4A5A1811-DFF2-43F5-A7A7-22A66EF04CEB}"/>
    <pc:docChg chg="undo redo custSel addSld delSld modSld sldOrd modMainMaster delSection modSection">
      <pc:chgData name="Daniel Barnes" userId="b303a15ee67145ed" providerId="LiveId" clId="{4A5A1811-DFF2-43F5-A7A7-22A66EF04CEB}" dt="2022-04-03T13:02:01.951" v="22350" actId="47"/>
      <pc:docMkLst>
        <pc:docMk/>
      </pc:docMkLst>
      <pc:sldChg chg="del">
        <pc:chgData name="Daniel Barnes" userId="b303a15ee67145ed" providerId="LiveId" clId="{4A5A1811-DFF2-43F5-A7A7-22A66EF04CEB}" dt="2022-03-13T20:55:20.595" v="2844" actId="47"/>
        <pc:sldMkLst>
          <pc:docMk/>
          <pc:sldMk cId="0" sldId="265"/>
        </pc:sldMkLst>
      </pc:sldChg>
      <pc:sldChg chg="del">
        <pc:chgData name="Daniel Barnes" userId="b303a15ee67145ed" providerId="LiveId" clId="{4A5A1811-DFF2-43F5-A7A7-22A66EF04CEB}" dt="2022-03-13T22:27:47.128" v="3987" actId="47"/>
        <pc:sldMkLst>
          <pc:docMk/>
          <pc:sldMk cId="3539573683" sldId="283"/>
        </pc:sldMkLst>
      </pc:sldChg>
      <pc:sldChg chg="del">
        <pc:chgData name="Daniel Barnes" userId="b303a15ee67145ed" providerId="LiveId" clId="{4A5A1811-DFF2-43F5-A7A7-22A66EF04CEB}" dt="2022-03-13T22:27:48.589" v="3990" actId="47"/>
        <pc:sldMkLst>
          <pc:docMk/>
          <pc:sldMk cId="2084359478" sldId="285"/>
        </pc:sldMkLst>
      </pc:sldChg>
      <pc:sldChg chg="del">
        <pc:chgData name="Daniel Barnes" userId="b303a15ee67145ed" providerId="LiveId" clId="{4A5A1811-DFF2-43F5-A7A7-22A66EF04CEB}" dt="2022-03-13T22:27:45.377" v="3984" actId="47"/>
        <pc:sldMkLst>
          <pc:docMk/>
          <pc:sldMk cId="2673216784" sldId="310"/>
        </pc:sldMkLst>
      </pc:sldChg>
      <pc:sldChg chg="del">
        <pc:chgData name="Daniel Barnes" userId="b303a15ee67145ed" providerId="LiveId" clId="{4A5A1811-DFF2-43F5-A7A7-22A66EF04CEB}" dt="2022-03-13T22:27:46.598" v="3986" actId="47"/>
        <pc:sldMkLst>
          <pc:docMk/>
          <pc:sldMk cId="2334085048" sldId="386"/>
        </pc:sldMkLst>
      </pc:sldChg>
      <pc:sldChg chg="addSp modSp del mod modClrScheme chgLayout">
        <pc:chgData name="Daniel Barnes" userId="b303a15ee67145ed" providerId="LiveId" clId="{4A5A1811-DFF2-43F5-A7A7-22A66EF04CEB}" dt="2022-03-13T22:27:51.169" v="3995" actId="47"/>
        <pc:sldMkLst>
          <pc:docMk/>
          <pc:sldMk cId="1712464991" sldId="389"/>
        </pc:sldMkLst>
        <pc:spChg chg="add mod ord">
          <ac:chgData name="Daniel Barnes" userId="b303a15ee67145ed" providerId="LiveId" clId="{4A5A1811-DFF2-43F5-A7A7-22A66EF04CEB}" dt="2022-03-13T21:36:49.627" v="3213" actId="700"/>
          <ac:spMkLst>
            <pc:docMk/>
            <pc:sldMk cId="1712464991" sldId="389"/>
            <ac:spMk id="2" creationId="{39DF4845-E59A-4D04-83D1-037A8B6AA6AE}"/>
          </ac:spMkLst>
        </pc:spChg>
        <pc:spChg chg="mod ord">
          <ac:chgData name="Daniel Barnes" userId="b303a15ee67145ed" providerId="LiveId" clId="{4A5A1811-DFF2-43F5-A7A7-22A66EF04CEB}" dt="2022-03-13T21:36:49.627" v="3213" actId="700"/>
          <ac:spMkLst>
            <pc:docMk/>
            <pc:sldMk cId="1712464991" sldId="389"/>
            <ac:spMk id="5" creationId="{25143A88-C215-4C38-BDA1-8D492CDBDA6D}"/>
          </ac:spMkLst>
        </pc:spChg>
      </pc:sldChg>
      <pc:sldChg chg="del">
        <pc:chgData name="Daniel Barnes" userId="b303a15ee67145ed" providerId="LiveId" clId="{4A5A1811-DFF2-43F5-A7A7-22A66EF04CEB}" dt="2022-03-13T22:27:47.579" v="3988" actId="47"/>
        <pc:sldMkLst>
          <pc:docMk/>
          <pc:sldMk cId="1853698949" sldId="422"/>
        </pc:sldMkLst>
      </pc:sldChg>
      <pc:sldChg chg="del">
        <pc:chgData name="Daniel Barnes" userId="b303a15ee67145ed" providerId="LiveId" clId="{4A5A1811-DFF2-43F5-A7A7-22A66EF04CEB}" dt="2022-03-13T22:27:46.126" v="3985" actId="47"/>
        <pc:sldMkLst>
          <pc:docMk/>
          <pc:sldMk cId="1458833693" sldId="430"/>
        </pc:sldMkLst>
      </pc:sldChg>
      <pc:sldChg chg="del">
        <pc:chgData name="Daniel Barnes" userId="b303a15ee67145ed" providerId="LiveId" clId="{4A5A1811-DFF2-43F5-A7A7-22A66EF04CEB}" dt="2022-03-13T22:27:49.667" v="3992" actId="47"/>
        <pc:sldMkLst>
          <pc:docMk/>
          <pc:sldMk cId="4090508549" sldId="434"/>
        </pc:sldMkLst>
      </pc:sldChg>
      <pc:sldChg chg="del">
        <pc:chgData name="Daniel Barnes" userId="b303a15ee67145ed" providerId="LiveId" clId="{4A5A1811-DFF2-43F5-A7A7-22A66EF04CEB}" dt="2022-03-13T22:27:50.129" v="3993" actId="47"/>
        <pc:sldMkLst>
          <pc:docMk/>
          <pc:sldMk cId="2109591922" sldId="438"/>
        </pc:sldMkLst>
      </pc:sldChg>
      <pc:sldChg chg="del">
        <pc:chgData name="Daniel Barnes" userId="b303a15ee67145ed" providerId="LiveId" clId="{4A5A1811-DFF2-43F5-A7A7-22A66EF04CEB}" dt="2022-03-13T22:27:49.096" v="3991" actId="47"/>
        <pc:sldMkLst>
          <pc:docMk/>
          <pc:sldMk cId="3570254087" sldId="440"/>
        </pc:sldMkLst>
      </pc:sldChg>
      <pc:sldChg chg="addSp delSp modSp mod">
        <pc:chgData name="Daniel Barnes" userId="b303a15ee67145ed" providerId="LiveId" clId="{4A5A1811-DFF2-43F5-A7A7-22A66EF04CEB}" dt="2022-04-03T12:43:03.967" v="22127" actId="1037"/>
        <pc:sldMkLst>
          <pc:docMk/>
          <pc:sldMk cId="1831704493" sldId="1033"/>
        </pc:sldMkLst>
        <pc:spChg chg="add mod">
          <ac:chgData name="Daniel Barnes" userId="b303a15ee67145ed" providerId="LiveId" clId="{4A5A1811-DFF2-43F5-A7A7-22A66EF04CEB}" dt="2022-04-03T12:43:03.967" v="22127" actId="1037"/>
          <ac:spMkLst>
            <pc:docMk/>
            <pc:sldMk cId="1831704493" sldId="1033"/>
            <ac:spMk id="8" creationId="{F5EC60A8-E290-432C-9150-DC133F4983FB}"/>
          </ac:spMkLst>
        </pc:spChg>
        <pc:spChg chg="mod">
          <ac:chgData name="Daniel Barnes" userId="b303a15ee67145ed" providerId="LiveId" clId="{4A5A1811-DFF2-43F5-A7A7-22A66EF04CEB}" dt="2022-03-13T22:30:47.314" v="4029" actId="12"/>
          <ac:spMkLst>
            <pc:docMk/>
            <pc:sldMk cId="1831704493" sldId="1033"/>
            <ac:spMk id="9" creationId="{62331484-B8FF-4E3E-BF36-A07F2A79E765}"/>
          </ac:spMkLst>
        </pc:spChg>
        <pc:spChg chg="add mod">
          <ac:chgData name="Daniel Barnes" userId="b303a15ee67145ed" providerId="LiveId" clId="{4A5A1811-DFF2-43F5-A7A7-22A66EF04CEB}" dt="2022-04-03T12:43:03.967" v="22127" actId="1037"/>
          <ac:spMkLst>
            <pc:docMk/>
            <pc:sldMk cId="1831704493" sldId="1033"/>
            <ac:spMk id="11" creationId="{6E91195E-1A45-4FAB-8DD4-2EB43A875AA0}"/>
          </ac:spMkLst>
        </pc:spChg>
        <pc:spChg chg="add mod">
          <ac:chgData name="Daniel Barnes" userId="b303a15ee67145ed" providerId="LiveId" clId="{4A5A1811-DFF2-43F5-A7A7-22A66EF04CEB}" dt="2022-04-03T12:43:03.967" v="22127" actId="1037"/>
          <ac:spMkLst>
            <pc:docMk/>
            <pc:sldMk cId="1831704493" sldId="1033"/>
            <ac:spMk id="13" creationId="{3C9604FB-CA0E-4BD9-816B-F05BF0A255D9}"/>
          </ac:spMkLst>
        </pc:spChg>
        <pc:spChg chg="add mod">
          <ac:chgData name="Daniel Barnes" userId="b303a15ee67145ed" providerId="LiveId" clId="{4A5A1811-DFF2-43F5-A7A7-22A66EF04CEB}" dt="2022-04-03T12:43:03.967" v="22127" actId="1037"/>
          <ac:spMkLst>
            <pc:docMk/>
            <pc:sldMk cId="1831704493" sldId="1033"/>
            <ac:spMk id="15" creationId="{6C6B3179-88F9-4EF1-829B-AD5296840D50}"/>
          </ac:spMkLst>
        </pc:spChg>
        <pc:picChg chg="del mod">
          <ac:chgData name="Daniel Barnes" userId="b303a15ee67145ed" providerId="LiveId" clId="{4A5A1811-DFF2-43F5-A7A7-22A66EF04CEB}" dt="2022-04-03T12:42:24.159" v="22110" actId="478"/>
          <ac:picMkLst>
            <pc:docMk/>
            <pc:sldMk cId="1831704493" sldId="1033"/>
            <ac:picMk id="3" creationId="{686FA588-9AF3-4A8B-9949-AFA0BC6C5F95}"/>
          </ac:picMkLst>
        </pc:picChg>
        <pc:picChg chg="mod">
          <ac:chgData name="Daniel Barnes" userId="b303a15ee67145ed" providerId="LiveId" clId="{4A5A1811-DFF2-43F5-A7A7-22A66EF04CEB}" dt="2022-04-03T12:43:03.967" v="22127" actId="1037"/>
          <ac:picMkLst>
            <pc:docMk/>
            <pc:sldMk cId="1831704493" sldId="1033"/>
            <ac:picMk id="10" creationId="{A32F75B6-D7DF-44D5-A965-AA890E09B1AD}"/>
          </ac:picMkLst>
        </pc:picChg>
        <pc:picChg chg="mod">
          <ac:chgData name="Daniel Barnes" userId="b303a15ee67145ed" providerId="LiveId" clId="{4A5A1811-DFF2-43F5-A7A7-22A66EF04CEB}" dt="2022-04-03T12:43:03.967" v="22127" actId="1037"/>
          <ac:picMkLst>
            <pc:docMk/>
            <pc:sldMk cId="1831704493" sldId="1033"/>
            <ac:picMk id="12" creationId="{2226A540-05CE-433F-B2F1-A637EA9FC8FB}"/>
          </ac:picMkLst>
        </pc:picChg>
        <pc:picChg chg="mod">
          <ac:chgData name="Daniel Barnes" userId="b303a15ee67145ed" providerId="LiveId" clId="{4A5A1811-DFF2-43F5-A7A7-22A66EF04CEB}" dt="2022-04-03T12:43:03.967" v="22127" actId="1037"/>
          <ac:picMkLst>
            <pc:docMk/>
            <pc:sldMk cId="1831704493" sldId="1033"/>
            <ac:picMk id="14" creationId="{6DD30B7B-4A9D-4352-8A66-45F757FA4010}"/>
          </ac:picMkLst>
        </pc:picChg>
        <pc:picChg chg="add mod ord">
          <ac:chgData name="Daniel Barnes" userId="b303a15ee67145ed" providerId="LiveId" clId="{4A5A1811-DFF2-43F5-A7A7-22A66EF04CEB}" dt="2022-04-03T12:43:03.967" v="22127" actId="1037"/>
          <ac:picMkLst>
            <pc:docMk/>
            <pc:sldMk cId="1831704493" sldId="1033"/>
            <ac:picMk id="16" creationId="{D8442E8E-37C2-487B-870C-2D6D735A9E93}"/>
          </ac:picMkLst>
        </pc:picChg>
        <pc:picChg chg="add del mod">
          <ac:chgData name="Daniel Barnes" userId="b303a15ee67145ed" providerId="LiveId" clId="{4A5A1811-DFF2-43F5-A7A7-22A66EF04CEB}" dt="2022-04-03T12:42:45.342" v="22118"/>
          <ac:picMkLst>
            <pc:docMk/>
            <pc:sldMk cId="1831704493" sldId="1033"/>
            <ac:picMk id="17" creationId="{19B37B86-FECF-4F7A-A055-E69E3A3AC665}"/>
          </ac:picMkLst>
        </pc:picChg>
      </pc:sldChg>
      <pc:sldChg chg="del">
        <pc:chgData name="Daniel Barnes" userId="b303a15ee67145ed" providerId="LiveId" clId="{4A5A1811-DFF2-43F5-A7A7-22A66EF04CEB}" dt="2022-03-13T22:27:48.113" v="3989" actId="47"/>
        <pc:sldMkLst>
          <pc:docMk/>
          <pc:sldMk cId="2466203640" sldId="1038"/>
        </pc:sldMkLst>
      </pc:sldChg>
      <pc:sldChg chg="del">
        <pc:chgData name="Daniel Barnes" userId="b303a15ee67145ed" providerId="LiveId" clId="{4A5A1811-DFF2-43F5-A7A7-22A66EF04CEB}" dt="2022-03-13T20:55:19.944" v="2843" actId="47"/>
        <pc:sldMkLst>
          <pc:docMk/>
          <pc:sldMk cId="998745995" sldId="1039"/>
        </pc:sldMkLst>
      </pc:sldChg>
      <pc:sldChg chg="del">
        <pc:chgData name="Daniel Barnes" userId="b303a15ee67145ed" providerId="LiveId" clId="{4A5A1811-DFF2-43F5-A7A7-22A66EF04CEB}" dt="2022-03-13T22:27:50.568" v="3994" actId="47"/>
        <pc:sldMkLst>
          <pc:docMk/>
          <pc:sldMk cId="3212294294" sldId="1054"/>
        </pc:sldMkLst>
      </pc:sldChg>
      <pc:sldChg chg="del">
        <pc:chgData name="Daniel Barnes" userId="b303a15ee67145ed" providerId="LiveId" clId="{4A5A1811-DFF2-43F5-A7A7-22A66EF04CEB}" dt="2022-03-13T20:55:22.930" v="2845" actId="47"/>
        <pc:sldMkLst>
          <pc:docMk/>
          <pc:sldMk cId="48713332" sldId="1055"/>
        </pc:sldMkLst>
      </pc:sldChg>
      <pc:sldChg chg="addSp modSp del mod modClrScheme chgLayout">
        <pc:chgData name="Daniel Barnes" userId="b303a15ee67145ed" providerId="LiveId" clId="{4A5A1811-DFF2-43F5-A7A7-22A66EF04CEB}" dt="2022-03-13T22:27:51.646" v="3996" actId="47"/>
        <pc:sldMkLst>
          <pc:docMk/>
          <pc:sldMk cId="1809115893" sldId="2145706623"/>
        </pc:sldMkLst>
        <pc:spChg chg="mod ord">
          <ac:chgData name="Daniel Barnes" userId="b303a15ee67145ed" providerId="LiveId" clId="{4A5A1811-DFF2-43F5-A7A7-22A66EF04CEB}" dt="2022-03-13T21:36:57.864" v="3214" actId="700"/>
          <ac:spMkLst>
            <pc:docMk/>
            <pc:sldMk cId="1809115893" sldId="2145706623"/>
            <ac:spMk id="2" creationId="{3EDCC615-662F-4CE3-B86C-1AE2552E9FF4}"/>
          </ac:spMkLst>
        </pc:spChg>
        <pc:spChg chg="add mod ord">
          <ac:chgData name="Daniel Barnes" userId="b303a15ee67145ed" providerId="LiveId" clId="{4A5A1811-DFF2-43F5-A7A7-22A66EF04CEB}" dt="2022-03-13T21:36:57.864" v="3214" actId="700"/>
          <ac:spMkLst>
            <pc:docMk/>
            <pc:sldMk cId="1809115893" sldId="2145706623"/>
            <ac:spMk id="21" creationId="{C5749F13-FD5B-401D-8AEE-589E1A77D19D}"/>
          </ac:spMkLst>
        </pc:spChg>
      </pc:sldChg>
      <pc:sldChg chg="del">
        <pc:chgData name="Daniel Barnes" userId="b303a15ee67145ed" providerId="LiveId" clId="{4A5A1811-DFF2-43F5-A7A7-22A66EF04CEB}" dt="2022-03-13T22:27:44.278" v="3983" actId="47"/>
        <pc:sldMkLst>
          <pc:docMk/>
          <pc:sldMk cId="2791069631" sldId="2145706635"/>
        </pc:sldMkLst>
      </pc:sldChg>
      <pc:sldChg chg="del">
        <pc:chgData name="Daniel Barnes" userId="b303a15ee67145ed" providerId="LiveId" clId="{4A5A1811-DFF2-43F5-A7A7-22A66EF04CEB}" dt="2022-03-13T19:20:03.876" v="243" actId="47"/>
        <pc:sldMkLst>
          <pc:docMk/>
          <pc:sldMk cId="1915099708" sldId="2145706638"/>
        </pc:sldMkLst>
      </pc:sldChg>
      <pc:sldChg chg="modSp mod">
        <pc:chgData name="Daniel Barnes" userId="b303a15ee67145ed" providerId="LiveId" clId="{4A5A1811-DFF2-43F5-A7A7-22A66EF04CEB}" dt="2022-03-13T22:42:08.923" v="4106" actId="20577"/>
        <pc:sldMkLst>
          <pc:docMk/>
          <pc:sldMk cId="1719766177" sldId="2145706642"/>
        </pc:sldMkLst>
        <pc:spChg chg="mod">
          <ac:chgData name="Daniel Barnes" userId="b303a15ee67145ed" providerId="LiveId" clId="{4A5A1811-DFF2-43F5-A7A7-22A66EF04CEB}" dt="2022-03-13T22:42:08.923" v="4106" actId="20577"/>
          <ac:spMkLst>
            <pc:docMk/>
            <pc:sldMk cId="1719766177" sldId="2145706642"/>
            <ac:spMk id="16" creationId="{78A5BD09-27BF-4985-9769-14B3FC8052DE}"/>
          </ac:spMkLst>
        </pc:spChg>
      </pc:sldChg>
      <pc:sldChg chg="del">
        <pc:chgData name="Daniel Barnes" userId="b303a15ee67145ed" providerId="LiveId" clId="{4A5A1811-DFF2-43F5-A7A7-22A66EF04CEB}" dt="2022-03-13T19:16:30.220" v="0" actId="47"/>
        <pc:sldMkLst>
          <pc:docMk/>
          <pc:sldMk cId="3315323325" sldId="2145706643"/>
        </pc:sldMkLst>
      </pc:sldChg>
      <pc:sldChg chg="del">
        <pc:chgData name="Daniel Barnes" userId="b303a15ee67145ed" providerId="LiveId" clId="{4A5A1811-DFF2-43F5-A7A7-22A66EF04CEB}" dt="2022-03-13T19:18:22.388" v="216" actId="47"/>
        <pc:sldMkLst>
          <pc:docMk/>
          <pc:sldMk cId="2419356653" sldId="2145706644"/>
        </pc:sldMkLst>
      </pc:sldChg>
      <pc:sldChg chg="del">
        <pc:chgData name="Daniel Barnes" userId="b303a15ee67145ed" providerId="LiveId" clId="{4A5A1811-DFF2-43F5-A7A7-22A66EF04CEB}" dt="2022-03-13T19:20:09.327" v="244" actId="47"/>
        <pc:sldMkLst>
          <pc:docMk/>
          <pc:sldMk cId="1367426569" sldId="2145706645"/>
        </pc:sldMkLst>
      </pc:sldChg>
      <pc:sldChg chg="del">
        <pc:chgData name="Daniel Barnes" userId="b303a15ee67145ed" providerId="LiveId" clId="{4A5A1811-DFF2-43F5-A7A7-22A66EF04CEB}" dt="2022-03-13T22:40:14.358" v="4057" actId="47"/>
        <pc:sldMkLst>
          <pc:docMk/>
          <pc:sldMk cId="2690681357" sldId="2145706646"/>
        </pc:sldMkLst>
      </pc:sldChg>
      <pc:sldChg chg="del">
        <pc:chgData name="Daniel Barnes" userId="b303a15ee67145ed" providerId="LiveId" clId="{4A5A1811-DFF2-43F5-A7A7-22A66EF04CEB}" dt="2022-03-13T22:42:27.705" v="4111" actId="47"/>
        <pc:sldMkLst>
          <pc:docMk/>
          <pc:sldMk cId="2421176396" sldId="2145706647"/>
        </pc:sldMkLst>
      </pc:sldChg>
      <pc:sldChg chg="del">
        <pc:chgData name="Daniel Barnes" userId="b303a15ee67145ed" providerId="LiveId" clId="{4A5A1811-DFF2-43F5-A7A7-22A66EF04CEB}" dt="2022-04-03T13:02:01.951" v="22350" actId="47"/>
        <pc:sldMkLst>
          <pc:docMk/>
          <pc:sldMk cId="595374081" sldId="2145706648"/>
        </pc:sldMkLst>
      </pc:sldChg>
      <pc:sldChg chg="addSp delSp modSp mod">
        <pc:chgData name="Daniel Barnes" userId="b303a15ee67145ed" providerId="LiveId" clId="{4A5A1811-DFF2-43F5-A7A7-22A66EF04CEB}" dt="2022-04-03T12:51:27.326" v="22216" actId="208"/>
        <pc:sldMkLst>
          <pc:docMk/>
          <pc:sldMk cId="3224566060" sldId="2145706650"/>
        </pc:sldMkLst>
        <pc:spChg chg="mod">
          <ac:chgData name="Daniel Barnes" userId="b303a15ee67145ed" providerId="LiveId" clId="{4A5A1811-DFF2-43F5-A7A7-22A66EF04CEB}" dt="2022-03-13T20:28:38.444" v="2237" actId="6549"/>
          <ac:spMkLst>
            <pc:docMk/>
            <pc:sldMk cId="3224566060" sldId="2145706650"/>
            <ac:spMk id="2" creationId="{0107FA66-646B-42C0-A453-9C2949F7188C}"/>
          </ac:spMkLst>
        </pc:spChg>
        <pc:spChg chg="mod">
          <ac:chgData name="Daniel Barnes" userId="b303a15ee67145ed" providerId="LiveId" clId="{4A5A1811-DFF2-43F5-A7A7-22A66EF04CEB}" dt="2022-03-21T23:39:50.557" v="12647" actId="6549"/>
          <ac:spMkLst>
            <pc:docMk/>
            <pc:sldMk cId="3224566060" sldId="2145706650"/>
            <ac:spMk id="3" creationId="{E6EB4016-53BF-47E2-8C18-4CAA9DE4C1F2}"/>
          </ac:spMkLst>
        </pc:spChg>
        <pc:spChg chg="add del mod">
          <ac:chgData name="Daniel Barnes" userId="b303a15ee67145ed" providerId="LiveId" clId="{4A5A1811-DFF2-43F5-A7A7-22A66EF04CEB}" dt="2022-03-13T20:28:15.701" v="2234" actId="478"/>
          <ac:spMkLst>
            <pc:docMk/>
            <pc:sldMk cId="3224566060" sldId="2145706650"/>
            <ac:spMk id="22" creationId="{543E940A-428F-47B4-AA86-2F8DD5AD69B7}"/>
          </ac:spMkLst>
        </pc:spChg>
        <pc:spChg chg="add del mod">
          <ac:chgData name="Daniel Barnes" userId="b303a15ee67145ed" providerId="LiveId" clId="{4A5A1811-DFF2-43F5-A7A7-22A66EF04CEB}" dt="2022-03-13T20:46:29.245" v="2837" actId="478"/>
          <ac:spMkLst>
            <pc:docMk/>
            <pc:sldMk cId="3224566060" sldId="2145706650"/>
            <ac:spMk id="25" creationId="{9FC54188-0A92-4704-AF1F-F27052BB8993}"/>
          </ac:spMkLst>
        </pc:spChg>
        <pc:spChg chg="add del mod">
          <ac:chgData name="Daniel Barnes" userId="b303a15ee67145ed" providerId="LiveId" clId="{4A5A1811-DFF2-43F5-A7A7-22A66EF04CEB}" dt="2022-03-13T20:46:35.475" v="2841" actId="478"/>
          <ac:spMkLst>
            <pc:docMk/>
            <pc:sldMk cId="3224566060" sldId="2145706650"/>
            <ac:spMk id="26" creationId="{E92ABBA5-3212-4EFB-8953-1E21570F38D6}"/>
          </ac:spMkLst>
        </pc:spChg>
        <pc:spChg chg="add del mod">
          <ac:chgData name="Daniel Barnes" userId="b303a15ee67145ed" providerId="LiveId" clId="{4A5A1811-DFF2-43F5-A7A7-22A66EF04CEB}" dt="2022-03-13T20:46:30.395" v="2839" actId="478"/>
          <ac:spMkLst>
            <pc:docMk/>
            <pc:sldMk cId="3224566060" sldId="2145706650"/>
            <ac:spMk id="27" creationId="{18C95FDD-6056-4E06-8D2A-2679174BEE77}"/>
          </ac:spMkLst>
        </pc:spChg>
        <pc:spChg chg="add del mod">
          <ac:chgData name="Daniel Barnes" userId="b303a15ee67145ed" providerId="LiveId" clId="{4A5A1811-DFF2-43F5-A7A7-22A66EF04CEB}" dt="2022-03-13T20:46:34.811" v="2840" actId="478"/>
          <ac:spMkLst>
            <pc:docMk/>
            <pc:sldMk cId="3224566060" sldId="2145706650"/>
            <ac:spMk id="28" creationId="{C64A1754-8553-40DC-976F-F67DB0E9DF2A}"/>
          </ac:spMkLst>
        </pc:spChg>
        <pc:spChg chg="add mod topLvl">
          <ac:chgData name="Daniel Barnes" userId="b303a15ee67145ed" providerId="LiveId" clId="{4A5A1811-DFF2-43F5-A7A7-22A66EF04CEB}" dt="2022-04-03T12:45:42.182" v="22149" actId="165"/>
          <ac:spMkLst>
            <pc:docMk/>
            <pc:sldMk cId="3224566060" sldId="2145706650"/>
            <ac:spMk id="29" creationId="{1DF1107F-F74A-4304-8DE6-93916235A5B1}"/>
          </ac:spMkLst>
        </pc:spChg>
        <pc:spChg chg="add mod topLvl">
          <ac:chgData name="Daniel Barnes" userId="b303a15ee67145ed" providerId="LiveId" clId="{4A5A1811-DFF2-43F5-A7A7-22A66EF04CEB}" dt="2022-04-03T12:45:42.182" v="22149" actId="165"/>
          <ac:spMkLst>
            <pc:docMk/>
            <pc:sldMk cId="3224566060" sldId="2145706650"/>
            <ac:spMk id="30" creationId="{66093CA5-2EC8-4B34-A1C8-F0C4091F6EE7}"/>
          </ac:spMkLst>
        </pc:spChg>
        <pc:spChg chg="add mod topLvl">
          <ac:chgData name="Daniel Barnes" userId="b303a15ee67145ed" providerId="LiveId" clId="{4A5A1811-DFF2-43F5-A7A7-22A66EF04CEB}" dt="2022-04-03T12:45:42.182" v="22149" actId="165"/>
          <ac:spMkLst>
            <pc:docMk/>
            <pc:sldMk cId="3224566060" sldId="2145706650"/>
            <ac:spMk id="31" creationId="{E02402AA-948A-4B29-B94D-F54509BA10EA}"/>
          </ac:spMkLst>
        </pc:spChg>
        <pc:spChg chg="add mod topLvl">
          <ac:chgData name="Daniel Barnes" userId="b303a15ee67145ed" providerId="LiveId" clId="{4A5A1811-DFF2-43F5-A7A7-22A66EF04CEB}" dt="2022-04-03T12:45:42.182" v="22149" actId="165"/>
          <ac:spMkLst>
            <pc:docMk/>
            <pc:sldMk cId="3224566060" sldId="2145706650"/>
            <ac:spMk id="32" creationId="{FCE79089-D131-4132-9A95-62FAEED47BA8}"/>
          </ac:spMkLst>
        </pc:spChg>
        <pc:spChg chg="add del mod">
          <ac:chgData name="Daniel Barnes" userId="b303a15ee67145ed" providerId="LiveId" clId="{4A5A1811-DFF2-43F5-A7A7-22A66EF04CEB}" dt="2022-03-13T22:22:46.542" v="3966" actId="478"/>
          <ac:spMkLst>
            <pc:docMk/>
            <pc:sldMk cId="3224566060" sldId="2145706650"/>
            <ac:spMk id="34" creationId="{AABBD3EB-FE4D-4695-B4F3-FF6E2A0895DC}"/>
          </ac:spMkLst>
        </pc:spChg>
        <pc:spChg chg="add mod">
          <ac:chgData name="Daniel Barnes" userId="b303a15ee67145ed" providerId="LiveId" clId="{4A5A1811-DFF2-43F5-A7A7-22A66EF04CEB}" dt="2022-03-13T22:22:44.218" v="3964"/>
          <ac:spMkLst>
            <pc:docMk/>
            <pc:sldMk cId="3224566060" sldId="2145706650"/>
            <ac:spMk id="35" creationId="{B0C5CC0C-B0DF-4DEE-9B5B-199178D8350C}"/>
          </ac:spMkLst>
        </pc:spChg>
        <pc:grpChg chg="add del mod">
          <ac:chgData name="Daniel Barnes" userId="b303a15ee67145ed" providerId="LiveId" clId="{4A5A1811-DFF2-43F5-A7A7-22A66EF04CEB}" dt="2022-03-13T20:33:21.636" v="2340" actId="478"/>
          <ac:grpSpMkLst>
            <pc:docMk/>
            <pc:sldMk cId="3224566060" sldId="2145706650"/>
            <ac:grpSpMk id="18" creationId="{7E3AF57D-BCCD-42A3-A12B-13AF90E6A84F}"/>
          </ac:grpSpMkLst>
        </pc:grpChg>
        <pc:grpChg chg="add del mod">
          <ac:chgData name="Daniel Barnes" userId="b303a15ee67145ed" providerId="LiveId" clId="{4A5A1811-DFF2-43F5-A7A7-22A66EF04CEB}" dt="2022-04-03T12:45:42.182" v="22149" actId="165"/>
          <ac:grpSpMkLst>
            <pc:docMk/>
            <pc:sldMk cId="3224566060" sldId="2145706650"/>
            <ac:grpSpMk id="33" creationId="{39C4738E-B6A4-4A4A-8FC7-CC035026E912}"/>
          </ac:grpSpMkLst>
        </pc:grpChg>
        <pc:picChg chg="add mod">
          <ac:chgData name="Daniel Barnes" userId="b303a15ee67145ed" providerId="LiveId" clId="{4A5A1811-DFF2-43F5-A7A7-22A66EF04CEB}" dt="2022-03-13T20:07:32.777" v="1132" actId="164"/>
          <ac:picMkLst>
            <pc:docMk/>
            <pc:sldMk cId="3224566060" sldId="2145706650"/>
            <ac:picMk id="5" creationId="{93C5F980-31E5-4580-9422-C5A526F73EC4}"/>
          </ac:picMkLst>
        </pc:picChg>
        <pc:picChg chg="add del mod modCrop">
          <ac:chgData name="Daniel Barnes" userId="b303a15ee67145ed" providerId="LiveId" clId="{4A5A1811-DFF2-43F5-A7A7-22A66EF04CEB}" dt="2022-03-13T20:33:18.716" v="2339" actId="478"/>
          <ac:picMkLst>
            <pc:docMk/>
            <pc:sldMk cId="3224566060" sldId="2145706650"/>
            <ac:picMk id="6" creationId="{A6EACE13-983B-4AA9-AF1D-0A7DDB3CF7DE}"/>
          </ac:picMkLst>
        </pc:picChg>
        <pc:picChg chg="add del mod">
          <ac:chgData name="Daniel Barnes" userId="b303a15ee67145ed" providerId="LiveId" clId="{4A5A1811-DFF2-43F5-A7A7-22A66EF04CEB}" dt="2022-03-13T20:05:51.358" v="1112" actId="478"/>
          <ac:picMkLst>
            <pc:docMk/>
            <pc:sldMk cId="3224566060" sldId="2145706650"/>
            <ac:picMk id="7" creationId="{B05BA2BF-10FA-4A1A-9785-773D9B3D7EA2}"/>
          </ac:picMkLst>
        </pc:picChg>
        <pc:picChg chg="add del">
          <ac:chgData name="Daniel Barnes" userId="b303a15ee67145ed" providerId="LiveId" clId="{4A5A1811-DFF2-43F5-A7A7-22A66EF04CEB}" dt="2022-03-13T20:03:14.350" v="1083" actId="478"/>
          <ac:picMkLst>
            <pc:docMk/>
            <pc:sldMk cId="3224566060" sldId="2145706650"/>
            <ac:picMk id="9" creationId="{817C0E1E-3988-403F-BAE8-F4785865FD63}"/>
          </ac:picMkLst>
        </pc:picChg>
        <pc:picChg chg="add mod">
          <ac:chgData name="Daniel Barnes" userId="b303a15ee67145ed" providerId="LiveId" clId="{4A5A1811-DFF2-43F5-A7A7-22A66EF04CEB}" dt="2022-03-13T20:07:32.777" v="1132" actId="164"/>
          <ac:picMkLst>
            <pc:docMk/>
            <pc:sldMk cId="3224566060" sldId="2145706650"/>
            <ac:picMk id="11" creationId="{E6D63F86-D0FD-4554-B688-B52D6F26C5F5}"/>
          </ac:picMkLst>
        </pc:picChg>
        <pc:picChg chg="add mod">
          <ac:chgData name="Daniel Barnes" userId="b303a15ee67145ed" providerId="LiveId" clId="{4A5A1811-DFF2-43F5-A7A7-22A66EF04CEB}" dt="2022-03-13T20:07:32.777" v="1132" actId="164"/>
          <ac:picMkLst>
            <pc:docMk/>
            <pc:sldMk cId="3224566060" sldId="2145706650"/>
            <ac:picMk id="13" creationId="{B7FA7808-D5FF-4F87-9A51-4A6DD912A9E0}"/>
          </ac:picMkLst>
        </pc:picChg>
        <pc:picChg chg="add mod topLvl">
          <ac:chgData name="Daniel Barnes" userId="b303a15ee67145ed" providerId="LiveId" clId="{4A5A1811-DFF2-43F5-A7A7-22A66EF04CEB}" dt="2022-04-03T12:51:27.326" v="22216" actId="208"/>
          <ac:picMkLst>
            <pc:docMk/>
            <pc:sldMk cId="3224566060" sldId="2145706650"/>
            <ac:picMk id="15" creationId="{C3830511-C957-4952-AB09-8E969DBA71E1}"/>
          </ac:picMkLst>
        </pc:picChg>
        <pc:picChg chg="add mod topLvl">
          <ac:chgData name="Daniel Barnes" userId="b303a15ee67145ed" providerId="LiveId" clId="{4A5A1811-DFF2-43F5-A7A7-22A66EF04CEB}" dt="2022-04-03T12:51:27.326" v="22216" actId="208"/>
          <ac:picMkLst>
            <pc:docMk/>
            <pc:sldMk cId="3224566060" sldId="2145706650"/>
            <ac:picMk id="17" creationId="{1AD7F3D1-90B6-4134-8857-3B06F3ACD75B}"/>
          </ac:picMkLst>
        </pc:picChg>
        <pc:picChg chg="add del mod topLvl">
          <ac:chgData name="Daniel Barnes" userId="b303a15ee67145ed" providerId="LiveId" clId="{4A5A1811-DFF2-43F5-A7A7-22A66EF04CEB}" dt="2022-04-03T12:51:27.326" v="22216" actId="208"/>
          <ac:picMkLst>
            <pc:docMk/>
            <pc:sldMk cId="3224566060" sldId="2145706650"/>
            <ac:picMk id="20" creationId="{5175496B-53CE-4EE1-83CF-AF3B8527CAE8}"/>
          </ac:picMkLst>
        </pc:picChg>
        <pc:picChg chg="add mod topLvl">
          <ac:chgData name="Daniel Barnes" userId="b303a15ee67145ed" providerId="LiveId" clId="{4A5A1811-DFF2-43F5-A7A7-22A66EF04CEB}" dt="2022-04-03T12:51:27.326" v="22216" actId="208"/>
          <ac:picMkLst>
            <pc:docMk/>
            <pc:sldMk cId="3224566060" sldId="2145706650"/>
            <ac:picMk id="24" creationId="{62ED9ABB-61DC-420D-BD60-52BFA3DF87D0}"/>
          </ac:picMkLst>
        </pc:picChg>
      </pc:sldChg>
      <pc:sldChg chg="addSp delSp modSp mod setBg modClrScheme chgLayout">
        <pc:chgData name="Daniel Barnes" userId="b303a15ee67145ed" providerId="LiveId" clId="{4A5A1811-DFF2-43F5-A7A7-22A66EF04CEB}" dt="2022-03-21T21:27:51.786" v="6626" actId="207"/>
        <pc:sldMkLst>
          <pc:docMk/>
          <pc:sldMk cId="2584317881" sldId="2145706651"/>
        </pc:sldMkLst>
        <pc:spChg chg="mod ord">
          <ac:chgData name="Daniel Barnes" userId="b303a15ee67145ed" providerId="LiveId" clId="{4A5A1811-DFF2-43F5-A7A7-22A66EF04CEB}" dt="2022-03-21T20:53:06.121" v="4790" actId="207"/>
          <ac:spMkLst>
            <pc:docMk/>
            <pc:sldMk cId="2584317881" sldId="2145706651"/>
            <ac:spMk id="2" creationId="{0107FA66-646B-42C0-A453-9C2949F7188C}"/>
          </ac:spMkLst>
        </pc:spChg>
        <pc:spChg chg="mod ord">
          <ac:chgData name="Daniel Barnes" userId="b303a15ee67145ed" providerId="LiveId" clId="{4A5A1811-DFF2-43F5-A7A7-22A66EF04CEB}" dt="2022-03-21T21:24:13.491" v="6571" actId="21"/>
          <ac:spMkLst>
            <pc:docMk/>
            <pc:sldMk cId="2584317881" sldId="2145706651"/>
            <ac:spMk id="3" creationId="{E6EB4016-53BF-47E2-8C18-4CAA9DE4C1F2}"/>
          </ac:spMkLst>
        </pc:spChg>
        <pc:spChg chg="add mod">
          <ac:chgData name="Daniel Barnes" userId="b303a15ee67145ed" providerId="LiveId" clId="{4A5A1811-DFF2-43F5-A7A7-22A66EF04CEB}" dt="2022-03-13T22:26:08.364" v="3979"/>
          <ac:spMkLst>
            <pc:docMk/>
            <pc:sldMk cId="2584317881" sldId="2145706651"/>
            <ac:spMk id="4" creationId="{E5534484-F223-4342-8F4D-1F5A8C9C8198}"/>
          </ac:spMkLst>
        </pc:spChg>
        <pc:spChg chg="add mod ord">
          <ac:chgData name="Daniel Barnes" userId="b303a15ee67145ed" providerId="LiveId" clId="{4A5A1811-DFF2-43F5-A7A7-22A66EF04CEB}" dt="2022-03-21T21:23:09.354" v="6527" actId="207"/>
          <ac:spMkLst>
            <pc:docMk/>
            <pc:sldMk cId="2584317881" sldId="2145706651"/>
            <ac:spMk id="5" creationId="{7453AA93-4A89-4C9E-AF21-6B1D837B5CDA}"/>
          </ac:spMkLst>
        </pc:spChg>
        <pc:spChg chg="add mod ord">
          <ac:chgData name="Daniel Barnes" userId="b303a15ee67145ed" providerId="LiveId" clId="{4A5A1811-DFF2-43F5-A7A7-22A66EF04CEB}" dt="2022-03-21T21:24:29.227" v="6577" actId="21"/>
          <ac:spMkLst>
            <pc:docMk/>
            <pc:sldMk cId="2584317881" sldId="2145706651"/>
            <ac:spMk id="6" creationId="{241B1CCC-E4DB-4CD3-880A-2212EC6056C8}"/>
          </ac:spMkLst>
        </pc:spChg>
        <pc:spChg chg="add mod ord">
          <ac:chgData name="Daniel Barnes" userId="b303a15ee67145ed" providerId="LiveId" clId="{4A5A1811-DFF2-43F5-A7A7-22A66EF04CEB}" dt="2022-03-21T21:23:11.385" v="6528" actId="207"/>
          <ac:spMkLst>
            <pc:docMk/>
            <pc:sldMk cId="2584317881" sldId="2145706651"/>
            <ac:spMk id="7" creationId="{0797E5C3-0229-4F4A-91A8-A5E22C113085}"/>
          </ac:spMkLst>
        </pc:spChg>
        <pc:spChg chg="add mod ord">
          <ac:chgData name="Daniel Barnes" userId="b303a15ee67145ed" providerId="LiveId" clId="{4A5A1811-DFF2-43F5-A7A7-22A66EF04CEB}" dt="2022-03-21T21:24:58.357" v="6586" actId="21"/>
          <ac:spMkLst>
            <pc:docMk/>
            <pc:sldMk cId="2584317881" sldId="2145706651"/>
            <ac:spMk id="8" creationId="{08C3B6BE-FA9F-4878-9BD2-26B3B4EFB716}"/>
          </ac:spMkLst>
        </pc:spChg>
        <pc:spChg chg="add mod ord">
          <ac:chgData name="Daniel Barnes" userId="b303a15ee67145ed" providerId="LiveId" clId="{4A5A1811-DFF2-43F5-A7A7-22A66EF04CEB}" dt="2022-03-21T21:23:13.134" v="6529" actId="207"/>
          <ac:spMkLst>
            <pc:docMk/>
            <pc:sldMk cId="2584317881" sldId="2145706651"/>
            <ac:spMk id="9" creationId="{78043D29-7267-45B3-9E41-F9AF22D0E55E}"/>
          </ac:spMkLst>
        </pc:spChg>
        <pc:spChg chg="add mod">
          <ac:chgData name="Daniel Barnes" userId="b303a15ee67145ed" providerId="LiveId" clId="{4A5A1811-DFF2-43F5-A7A7-22A66EF04CEB}" dt="2022-03-21T21:26:09.969" v="6613" actId="1036"/>
          <ac:spMkLst>
            <pc:docMk/>
            <pc:sldMk cId="2584317881" sldId="2145706651"/>
            <ac:spMk id="24" creationId="{99174AEC-7283-400B-8B47-9A56EAADBF61}"/>
          </ac:spMkLst>
        </pc:spChg>
        <pc:spChg chg="add mod">
          <ac:chgData name="Daniel Barnes" userId="b303a15ee67145ed" providerId="LiveId" clId="{4A5A1811-DFF2-43F5-A7A7-22A66EF04CEB}" dt="2022-03-21T21:26:09.969" v="6613" actId="1036"/>
          <ac:spMkLst>
            <pc:docMk/>
            <pc:sldMk cId="2584317881" sldId="2145706651"/>
            <ac:spMk id="26" creationId="{A649B91F-C564-4E0F-8D72-886A3A5C574A}"/>
          </ac:spMkLst>
        </pc:spChg>
        <pc:spChg chg="add mod">
          <ac:chgData name="Daniel Barnes" userId="b303a15ee67145ed" providerId="LiveId" clId="{4A5A1811-DFF2-43F5-A7A7-22A66EF04CEB}" dt="2022-03-21T21:26:09.969" v="6613" actId="1036"/>
          <ac:spMkLst>
            <pc:docMk/>
            <pc:sldMk cId="2584317881" sldId="2145706651"/>
            <ac:spMk id="28" creationId="{02C044DE-8C42-46A8-9E48-183702740F84}"/>
          </ac:spMkLst>
        </pc:spChg>
        <pc:spChg chg="mod">
          <ac:chgData name="Daniel Barnes" userId="b303a15ee67145ed" providerId="LiveId" clId="{4A5A1811-DFF2-43F5-A7A7-22A66EF04CEB}" dt="2022-03-21T21:26:55.111" v="6617" actId="27803"/>
          <ac:spMkLst>
            <pc:docMk/>
            <pc:sldMk cId="2584317881" sldId="2145706651"/>
            <ac:spMk id="30" creationId="{EE0A2103-FC87-4BF8-A2D9-85309DAAB6FD}"/>
          </ac:spMkLst>
        </pc:spChg>
        <pc:spChg chg="mod">
          <ac:chgData name="Daniel Barnes" userId="b303a15ee67145ed" providerId="LiveId" clId="{4A5A1811-DFF2-43F5-A7A7-22A66EF04CEB}" dt="2022-03-21T21:27:01.523" v="6618" actId="207"/>
          <ac:spMkLst>
            <pc:docMk/>
            <pc:sldMk cId="2584317881" sldId="2145706651"/>
            <ac:spMk id="31" creationId="{FDDD865A-6B6B-4CD7-ADB1-489DFDB86D6D}"/>
          </ac:spMkLst>
        </pc:spChg>
        <pc:spChg chg="mod">
          <ac:chgData name="Daniel Barnes" userId="b303a15ee67145ed" providerId="LiveId" clId="{4A5A1811-DFF2-43F5-A7A7-22A66EF04CEB}" dt="2022-03-21T21:27:07.011" v="6619" actId="27803"/>
          <ac:spMkLst>
            <pc:docMk/>
            <pc:sldMk cId="2584317881" sldId="2145706651"/>
            <ac:spMk id="33" creationId="{21959A9D-C398-49A3-8D66-868700FB64E7}"/>
          </ac:spMkLst>
        </pc:spChg>
        <pc:spChg chg="mod">
          <ac:chgData name="Daniel Barnes" userId="b303a15ee67145ed" providerId="LiveId" clId="{4A5A1811-DFF2-43F5-A7A7-22A66EF04CEB}" dt="2022-03-21T21:27:20.863" v="6622" actId="207"/>
          <ac:spMkLst>
            <pc:docMk/>
            <pc:sldMk cId="2584317881" sldId="2145706651"/>
            <ac:spMk id="34" creationId="{83F23A67-6876-4367-B808-1B3279027B90}"/>
          </ac:spMkLst>
        </pc:spChg>
        <pc:spChg chg="mod">
          <ac:chgData name="Daniel Barnes" userId="b303a15ee67145ed" providerId="LiveId" clId="{4A5A1811-DFF2-43F5-A7A7-22A66EF04CEB}" dt="2022-03-21T21:27:46.420" v="6625" actId="207"/>
          <ac:spMkLst>
            <pc:docMk/>
            <pc:sldMk cId="2584317881" sldId="2145706651"/>
            <ac:spMk id="35" creationId="{E5C2D67E-401B-43D7-A850-0D1E190B7390}"/>
          </ac:spMkLst>
        </pc:spChg>
        <pc:spChg chg="mod">
          <ac:chgData name="Daniel Barnes" userId="b303a15ee67145ed" providerId="LiveId" clId="{4A5A1811-DFF2-43F5-A7A7-22A66EF04CEB}" dt="2022-03-21T21:27:20.863" v="6622" actId="207"/>
          <ac:spMkLst>
            <pc:docMk/>
            <pc:sldMk cId="2584317881" sldId="2145706651"/>
            <ac:spMk id="36" creationId="{B519FD71-DBEF-4D7A-9BE4-6448FD4AAB9B}"/>
          </ac:spMkLst>
        </pc:spChg>
        <pc:spChg chg="mod">
          <ac:chgData name="Daniel Barnes" userId="b303a15ee67145ed" providerId="LiveId" clId="{4A5A1811-DFF2-43F5-A7A7-22A66EF04CEB}" dt="2022-03-21T21:27:46.420" v="6625" actId="207"/>
          <ac:spMkLst>
            <pc:docMk/>
            <pc:sldMk cId="2584317881" sldId="2145706651"/>
            <ac:spMk id="37" creationId="{C468C236-AC68-4E68-920F-A3295FB25EEC}"/>
          </ac:spMkLst>
        </pc:spChg>
        <pc:spChg chg="mod">
          <ac:chgData name="Daniel Barnes" userId="b303a15ee67145ed" providerId="LiveId" clId="{4A5A1811-DFF2-43F5-A7A7-22A66EF04CEB}" dt="2022-03-21T21:27:31.503" v="6623" actId="27803"/>
          <ac:spMkLst>
            <pc:docMk/>
            <pc:sldMk cId="2584317881" sldId="2145706651"/>
            <ac:spMk id="39" creationId="{01221B71-29C8-4301-9C0F-51C64AF002E3}"/>
          </ac:spMkLst>
        </pc:spChg>
        <pc:spChg chg="mod">
          <ac:chgData name="Daniel Barnes" userId="b303a15ee67145ed" providerId="LiveId" clId="{4A5A1811-DFF2-43F5-A7A7-22A66EF04CEB}" dt="2022-03-21T21:27:42.381" v="6624" actId="207"/>
          <ac:spMkLst>
            <pc:docMk/>
            <pc:sldMk cId="2584317881" sldId="2145706651"/>
            <ac:spMk id="40" creationId="{C61016E6-D9EE-41C2-9E63-E043E62FAB42}"/>
          </ac:spMkLst>
        </pc:spChg>
        <pc:spChg chg="mod">
          <ac:chgData name="Daniel Barnes" userId="b303a15ee67145ed" providerId="LiveId" clId="{4A5A1811-DFF2-43F5-A7A7-22A66EF04CEB}" dt="2022-03-21T21:27:51.786" v="6626" actId="207"/>
          <ac:spMkLst>
            <pc:docMk/>
            <pc:sldMk cId="2584317881" sldId="2145706651"/>
            <ac:spMk id="41" creationId="{F1EAFE71-38B4-43D2-BB7D-79B9E3B5B446}"/>
          </ac:spMkLst>
        </pc:spChg>
        <pc:spChg chg="mod">
          <ac:chgData name="Daniel Barnes" userId="b303a15ee67145ed" providerId="LiveId" clId="{4A5A1811-DFF2-43F5-A7A7-22A66EF04CEB}" dt="2022-03-21T21:27:42.381" v="6624" actId="207"/>
          <ac:spMkLst>
            <pc:docMk/>
            <pc:sldMk cId="2584317881" sldId="2145706651"/>
            <ac:spMk id="42" creationId="{D80E07A9-3A8C-48E4-89E6-E73273FBA864}"/>
          </ac:spMkLst>
        </pc:spChg>
        <pc:spChg chg="mod">
          <ac:chgData name="Daniel Barnes" userId="b303a15ee67145ed" providerId="LiveId" clId="{4A5A1811-DFF2-43F5-A7A7-22A66EF04CEB}" dt="2022-03-21T21:27:51.786" v="6626" actId="207"/>
          <ac:spMkLst>
            <pc:docMk/>
            <pc:sldMk cId="2584317881" sldId="2145706651"/>
            <ac:spMk id="43" creationId="{04AC724C-319B-4ED4-A0F4-ADF3E6427C3C}"/>
          </ac:spMkLst>
        </pc:spChg>
        <pc:spChg chg="mod">
          <ac:chgData name="Daniel Barnes" userId="b303a15ee67145ed" providerId="LiveId" clId="{4A5A1811-DFF2-43F5-A7A7-22A66EF04CEB}" dt="2022-03-21T21:27:51.786" v="6626" actId="207"/>
          <ac:spMkLst>
            <pc:docMk/>
            <pc:sldMk cId="2584317881" sldId="2145706651"/>
            <ac:spMk id="44" creationId="{A045D900-C50E-4D92-BD77-85478ED51149}"/>
          </ac:spMkLst>
        </pc:spChg>
        <pc:spChg chg="mod">
          <ac:chgData name="Daniel Barnes" userId="b303a15ee67145ed" providerId="LiveId" clId="{4A5A1811-DFF2-43F5-A7A7-22A66EF04CEB}" dt="2022-03-21T21:27:51.786" v="6626" actId="207"/>
          <ac:spMkLst>
            <pc:docMk/>
            <pc:sldMk cId="2584317881" sldId="2145706651"/>
            <ac:spMk id="45" creationId="{C928A252-D812-4851-B151-D1AF8EB42026}"/>
          </ac:spMkLst>
        </pc:spChg>
        <pc:spChg chg="mod">
          <ac:chgData name="Daniel Barnes" userId="b303a15ee67145ed" providerId="LiveId" clId="{4A5A1811-DFF2-43F5-A7A7-22A66EF04CEB}" dt="2022-03-21T21:27:42.381" v="6624" actId="207"/>
          <ac:spMkLst>
            <pc:docMk/>
            <pc:sldMk cId="2584317881" sldId="2145706651"/>
            <ac:spMk id="46" creationId="{7023A8EC-D5F4-432C-8FC4-44653A8EC4E0}"/>
          </ac:spMkLst>
        </pc:spChg>
        <pc:grpChg chg="del mod">
          <ac:chgData name="Daniel Barnes" userId="b303a15ee67145ed" providerId="LiveId" clId="{4A5A1811-DFF2-43F5-A7A7-22A66EF04CEB}" dt="2022-03-21T21:26:55.111" v="6617" actId="27803"/>
          <ac:grpSpMkLst>
            <pc:docMk/>
            <pc:sldMk cId="2584317881" sldId="2145706651"/>
            <ac:grpSpMk id="29" creationId="{A0F039A8-B642-452A-8446-BAB26C05979A}"/>
          </ac:grpSpMkLst>
        </pc:grpChg>
        <pc:grpChg chg="del mod">
          <ac:chgData name="Daniel Barnes" userId="b303a15ee67145ed" providerId="LiveId" clId="{4A5A1811-DFF2-43F5-A7A7-22A66EF04CEB}" dt="2022-03-21T21:27:07.011" v="6619" actId="27803"/>
          <ac:grpSpMkLst>
            <pc:docMk/>
            <pc:sldMk cId="2584317881" sldId="2145706651"/>
            <ac:grpSpMk id="32" creationId="{FB6B3D14-22CB-47E3-8277-6DEDA1D70D16}"/>
          </ac:grpSpMkLst>
        </pc:grpChg>
        <pc:grpChg chg="del mod">
          <ac:chgData name="Daniel Barnes" userId="b303a15ee67145ed" providerId="LiveId" clId="{4A5A1811-DFF2-43F5-A7A7-22A66EF04CEB}" dt="2022-03-21T21:27:31.503" v="6623" actId="27803"/>
          <ac:grpSpMkLst>
            <pc:docMk/>
            <pc:sldMk cId="2584317881" sldId="2145706651"/>
            <ac:grpSpMk id="38" creationId="{3EFAC38C-73F0-42EB-9487-DBA18D918C78}"/>
          </ac:grpSpMkLst>
        </pc:grpChg>
        <pc:graphicFrameChg chg="add del mod">
          <ac:chgData name="Daniel Barnes" userId="b303a15ee67145ed" providerId="LiveId" clId="{4A5A1811-DFF2-43F5-A7A7-22A66EF04CEB}" dt="2022-03-21T21:21:55.357" v="6520" actId="478"/>
          <ac:graphicFrameMkLst>
            <pc:docMk/>
            <pc:sldMk cId="2584317881" sldId="2145706651"/>
            <ac:graphicFrameMk id="16" creationId="{D5EB4188-9BF5-4364-91D3-A3EAFE29342D}"/>
          </ac:graphicFrameMkLst>
        </pc:graphicFrameChg>
        <pc:picChg chg="add del mod">
          <ac:chgData name="Daniel Barnes" userId="b303a15ee67145ed" providerId="LiveId" clId="{4A5A1811-DFF2-43F5-A7A7-22A66EF04CEB}" dt="2022-03-21T20:59:37.062" v="5425" actId="478"/>
          <ac:picMkLst>
            <pc:docMk/>
            <pc:sldMk cId="2584317881" sldId="2145706651"/>
            <ac:picMk id="11" creationId="{F96A4D73-73B3-4410-91C1-5EAD81E2DFBC}"/>
          </ac:picMkLst>
        </pc:picChg>
        <pc:picChg chg="add del mod">
          <ac:chgData name="Daniel Barnes" userId="b303a15ee67145ed" providerId="LiveId" clId="{4A5A1811-DFF2-43F5-A7A7-22A66EF04CEB}" dt="2022-03-21T21:21:29.563" v="6517" actId="931"/>
          <ac:picMkLst>
            <pc:docMk/>
            <pc:sldMk cId="2584317881" sldId="2145706651"/>
            <ac:picMk id="13" creationId="{1FD4AE7A-ED82-4250-B2BF-CFB7BB4F2E1E}"/>
          </ac:picMkLst>
        </pc:picChg>
        <pc:picChg chg="add del mod">
          <ac:chgData name="Daniel Barnes" userId="b303a15ee67145ed" providerId="LiveId" clId="{4A5A1811-DFF2-43F5-A7A7-22A66EF04CEB}" dt="2022-03-21T21:27:31.503" v="6623" actId="27803"/>
          <ac:picMkLst>
            <pc:docMk/>
            <pc:sldMk cId="2584317881" sldId="2145706651"/>
            <ac:picMk id="18" creationId="{A25F95D1-0779-4FDF-838B-E192C5BD1CB3}"/>
          </ac:picMkLst>
        </pc:picChg>
        <pc:picChg chg="add del mod">
          <ac:chgData name="Daniel Barnes" userId="b303a15ee67145ed" providerId="LiveId" clId="{4A5A1811-DFF2-43F5-A7A7-22A66EF04CEB}" dt="2022-03-21T21:27:07.011" v="6619" actId="27803"/>
          <ac:picMkLst>
            <pc:docMk/>
            <pc:sldMk cId="2584317881" sldId="2145706651"/>
            <ac:picMk id="20" creationId="{38619D14-616D-44C0-AF48-5337A2FA9C6F}"/>
          </ac:picMkLst>
        </pc:picChg>
        <pc:picChg chg="add del mod">
          <ac:chgData name="Daniel Barnes" userId="b303a15ee67145ed" providerId="LiveId" clId="{4A5A1811-DFF2-43F5-A7A7-22A66EF04CEB}" dt="2022-03-21T21:26:55.111" v="6617" actId="27803"/>
          <ac:picMkLst>
            <pc:docMk/>
            <pc:sldMk cId="2584317881" sldId="2145706651"/>
            <ac:picMk id="22" creationId="{C9B960AF-1BBF-4F08-8E5A-37018992DF74}"/>
          </ac:picMkLst>
        </pc:picChg>
      </pc:sldChg>
      <pc:sldChg chg="addSp modSp mod">
        <pc:chgData name="Daniel Barnes" userId="b303a15ee67145ed" providerId="LiveId" clId="{4A5A1811-DFF2-43F5-A7A7-22A66EF04CEB}" dt="2022-03-21T22:50:15.019" v="11065" actId="207"/>
        <pc:sldMkLst>
          <pc:docMk/>
          <pc:sldMk cId="3965037339" sldId="2145706652"/>
        </pc:sldMkLst>
        <pc:spChg chg="mod">
          <ac:chgData name="Daniel Barnes" userId="b303a15ee67145ed" providerId="LiveId" clId="{4A5A1811-DFF2-43F5-A7A7-22A66EF04CEB}" dt="2022-03-21T22:50:15.019" v="11065" actId="207"/>
          <ac:spMkLst>
            <pc:docMk/>
            <pc:sldMk cId="3965037339" sldId="2145706652"/>
            <ac:spMk id="3" creationId="{E6EB4016-53BF-47E2-8C18-4CAA9DE4C1F2}"/>
          </ac:spMkLst>
        </pc:spChg>
        <pc:spChg chg="add mod">
          <ac:chgData name="Daniel Barnes" userId="b303a15ee67145ed" providerId="LiveId" clId="{4A5A1811-DFF2-43F5-A7A7-22A66EF04CEB}" dt="2022-03-13T22:26:31.255" v="3980"/>
          <ac:spMkLst>
            <pc:docMk/>
            <pc:sldMk cId="3965037339" sldId="2145706652"/>
            <ac:spMk id="4" creationId="{E9E2E145-A81D-4522-B62F-A820552A8190}"/>
          </ac:spMkLst>
        </pc:spChg>
      </pc:sldChg>
      <pc:sldChg chg="addSp modSp mod">
        <pc:chgData name="Daniel Barnes" userId="b303a15ee67145ed" providerId="LiveId" clId="{4A5A1811-DFF2-43F5-A7A7-22A66EF04CEB}" dt="2022-03-22T19:34:15.125" v="15572" actId="404"/>
        <pc:sldMkLst>
          <pc:docMk/>
          <pc:sldMk cId="3920905582" sldId="2145706653"/>
        </pc:sldMkLst>
        <pc:spChg chg="mod">
          <ac:chgData name="Daniel Barnes" userId="b303a15ee67145ed" providerId="LiveId" clId="{4A5A1811-DFF2-43F5-A7A7-22A66EF04CEB}" dt="2022-03-22T19:34:15.125" v="15572" actId="404"/>
          <ac:spMkLst>
            <pc:docMk/>
            <pc:sldMk cId="3920905582" sldId="2145706653"/>
            <ac:spMk id="3" creationId="{E6EB4016-53BF-47E2-8C18-4CAA9DE4C1F2}"/>
          </ac:spMkLst>
        </pc:spChg>
        <pc:spChg chg="add mod">
          <ac:chgData name="Daniel Barnes" userId="b303a15ee67145ed" providerId="LiveId" clId="{4A5A1811-DFF2-43F5-A7A7-22A66EF04CEB}" dt="2022-03-13T22:27:02.819" v="3981"/>
          <ac:spMkLst>
            <pc:docMk/>
            <pc:sldMk cId="3920905582" sldId="2145706653"/>
            <ac:spMk id="4" creationId="{34BBE921-76A2-491F-95BB-852950A1B925}"/>
          </ac:spMkLst>
        </pc:spChg>
      </pc:sldChg>
      <pc:sldChg chg="addSp delSp modSp mod">
        <pc:chgData name="Daniel Barnes" userId="b303a15ee67145ed" providerId="LiveId" clId="{4A5A1811-DFF2-43F5-A7A7-22A66EF04CEB}" dt="2022-04-03T10:11:26.419" v="19966" actId="20577"/>
        <pc:sldMkLst>
          <pc:docMk/>
          <pc:sldMk cId="66980752" sldId="2145706654"/>
        </pc:sldMkLst>
        <pc:spChg chg="mod">
          <ac:chgData name="Daniel Barnes" userId="b303a15ee67145ed" providerId="LiveId" clId="{4A5A1811-DFF2-43F5-A7A7-22A66EF04CEB}" dt="2022-04-03T10:11:26.419" v="19966" actId="20577"/>
          <ac:spMkLst>
            <pc:docMk/>
            <pc:sldMk cId="66980752" sldId="2145706654"/>
            <ac:spMk id="3" creationId="{E6EB4016-53BF-47E2-8C18-4CAA9DE4C1F2}"/>
          </ac:spMkLst>
        </pc:spChg>
        <pc:spChg chg="add mod">
          <ac:chgData name="Daniel Barnes" userId="b303a15ee67145ed" providerId="LiveId" clId="{4A5A1811-DFF2-43F5-A7A7-22A66EF04CEB}" dt="2022-03-13T22:27:24.987" v="3982"/>
          <ac:spMkLst>
            <pc:docMk/>
            <pc:sldMk cId="66980752" sldId="2145706654"/>
            <ac:spMk id="4" creationId="{03B143B8-C817-4278-823F-5EC99DE45B22}"/>
          </ac:spMkLst>
        </pc:spChg>
        <pc:picChg chg="add del mod">
          <ac:chgData name="Daniel Barnes" userId="b303a15ee67145ed" providerId="LiveId" clId="{4A5A1811-DFF2-43F5-A7A7-22A66EF04CEB}" dt="2022-04-02T20:50:00.619" v="18959" actId="478"/>
          <ac:picMkLst>
            <pc:docMk/>
            <pc:sldMk cId="66980752" sldId="2145706654"/>
            <ac:picMk id="5" creationId="{9EA64E70-3852-494A-BDC2-DDC1C2755BD0}"/>
          </ac:picMkLst>
        </pc:picChg>
        <pc:picChg chg="add del mod">
          <ac:chgData name="Daniel Barnes" userId="b303a15ee67145ed" providerId="LiveId" clId="{4A5A1811-DFF2-43F5-A7A7-22A66EF04CEB}" dt="2022-04-02T20:53:02.238" v="19300" actId="478"/>
          <ac:picMkLst>
            <pc:docMk/>
            <pc:sldMk cId="66980752" sldId="2145706654"/>
            <ac:picMk id="6" creationId="{5E31E00D-6D9E-4E29-A859-E4F5FCAB98F2}"/>
          </ac:picMkLst>
        </pc:picChg>
        <pc:picChg chg="add del mod">
          <ac:chgData name="Daniel Barnes" userId="b303a15ee67145ed" providerId="LiveId" clId="{4A5A1811-DFF2-43F5-A7A7-22A66EF04CEB}" dt="2022-04-02T20:50:01.376" v="18960" actId="478"/>
          <ac:picMkLst>
            <pc:docMk/>
            <pc:sldMk cId="66980752" sldId="2145706654"/>
            <ac:picMk id="7" creationId="{37FD0237-63AA-4327-B240-9BB3B21A4EA2}"/>
          </ac:picMkLst>
        </pc:picChg>
      </pc:sldChg>
      <pc:sldChg chg="addSp delSp modSp del mod">
        <pc:chgData name="Daniel Barnes" userId="b303a15ee67145ed" providerId="LiveId" clId="{4A5A1811-DFF2-43F5-A7A7-22A66EF04CEB}" dt="2022-03-13T21:48:39.281" v="3366" actId="47"/>
        <pc:sldMkLst>
          <pc:docMk/>
          <pc:sldMk cId="2781948424" sldId="2145706655"/>
        </pc:sldMkLst>
        <pc:spChg chg="add mod">
          <ac:chgData name="Daniel Barnes" userId="b303a15ee67145ed" providerId="LiveId" clId="{4A5A1811-DFF2-43F5-A7A7-22A66EF04CEB}" dt="2022-03-13T21:34:35.655" v="3194" actId="12788"/>
          <ac:spMkLst>
            <pc:docMk/>
            <pc:sldMk cId="2781948424" sldId="2145706655"/>
            <ac:spMk id="4" creationId="{0A59B4AA-DDE8-4B16-86B5-B1092731D592}"/>
          </ac:spMkLst>
        </pc:spChg>
        <pc:spChg chg="mod">
          <ac:chgData name="Daniel Barnes" userId="b303a15ee67145ed" providerId="LiveId" clId="{4A5A1811-DFF2-43F5-A7A7-22A66EF04CEB}" dt="2022-03-13T19:31:52.310" v="757" actId="1037"/>
          <ac:spMkLst>
            <pc:docMk/>
            <pc:sldMk cId="2781948424" sldId="2145706655"/>
            <ac:spMk id="33" creationId="{00B3CE52-E56F-4D28-A54C-13ED900C2931}"/>
          </ac:spMkLst>
        </pc:spChg>
        <pc:spChg chg="add del mod">
          <ac:chgData name="Daniel Barnes" userId="b303a15ee67145ed" providerId="LiveId" clId="{4A5A1811-DFF2-43F5-A7A7-22A66EF04CEB}" dt="2022-03-13T19:52:49.809" v="991"/>
          <ac:spMkLst>
            <pc:docMk/>
            <pc:sldMk cId="2781948424" sldId="2145706655"/>
            <ac:spMk id="47" creationId="{E2C2BC07-E598-4483-AE9C-FA227E27AD18}"/>
          </ac:spMkLst>
        </pc:spChg>
        <pc:spChg chg="add del mod">
          <ac:chgData name="Daniel Barnes" userId="b303a15ee67145ed" providerId="LiveId" clId="{4A5A1811-DFF2-43F5-A7A7-22A66EF04CEB}" dt="2022-03-13T19:54:31.575" v="1012" actId="478"/>
          <ac:spMkLst>
            <pc:docMk/>
            <pc:sldMk cId="2781948424" sldId="2145706655"/>
            <ac:spMk id="49" creationId="{8255E730-4885-4277-94DC-78409033ED04}"/>
          </ac:spMkLst>
        </pc:spChg>
        <pc:spChg chg="add mod">
          <ac:chgData name="Daniel Barnes" userId="b303a15ee67145ed" providerId="LiveId" clId="{4A5A1811-DFF2-43F5-A7A7-22A66EF04CEB}" dt="2022-03-13T21:34:06.093" v="3188" actId="164"/>
          <ac:spMkLst>
            <pc:docMk/>
            <pc:sldMk cId="2781948424" sldId="2145706655"/>
            <ac:spMk id="89" creationId="{7F77E3BE-FFD1-49D0-912B-FD6FB1D4A716}"/>
          </ac:spMkLst>
        </pc:spChg>
        <pc:spChg chg="mod">
          <ac:chgData name="Daniel Barnes" userId="b303a15ee67145ed" providerId="LiveId" clId="{4A5A1811-DFF2-43F5-A7A7-22A66EF04CEB}" dt="2022-03-13T19:42:53.975" v="982" actId="207"/>
          <ac:spMkLst>
            <pc:docMk/>
            <pc:sldMk cId="2781948424" sldId="2145706655"/>
            <ac:spMk id="92" creationId="{9AAEEBB0-06C6-42E1-B56C-FF9F6DA2595F}"/>
          </ac:spMkLst>
        </pc:spChg>
        <pc:spChg chg="add mod">
          <ac:chgData name="Daniel Barnes" userId="b303a15ee67145ed" providerId="LiveId" clId="{4A5A1811-DFF2-43F5-A7A7-22A66EF04CEB}" dt="2022-03-13T21:34:08.309" v="3189" actId="164"/>
          <ac:spMkLst>
            <pc:docMk/>
            <pc:sldMk cId="2781948424" sldId="2145706655"/>
            <ac:spMk id="93" creationId="{5887B57B-681F-4AFC-A510-8BB5A325AEEC}"/>
          </ac:spMkLst>
        </pc:spChg>
        <pc:spChg chg="add mod">
          <ac:chgData name="Daniel Barnes" userId="b303a15ee67145ed" providerId="LiveId" clId="{4A5A1811-DFF2-43F5-A7A7-22A66EF04CEB}" dt="2022-03-13T21:34:12.116" v="3190" actId="164"/>
          <ac:spMkLst>
            <pc:docMk/>
            <pc:sldMk cId="2781948424" sldId="2145706655"/>
            <ac:spMk id="94" creationId="{12364969-3AD7-48C4-8FC6-EC50B8447038}"/>
          </ac:spMkLst>
        </pc:spChg>
        <pc:spChg chg="add mod">
          <ac:chgData name="Daniel Barnes" userId="b303a15ee67145ed" providerId="LiveId" clId="{4A5A1811-DFF2-43F5-A7A7-22A66EF04CEB}" dt="2022-03-13T21:34:14.620" v="3191" actId="164"/>
          <ac:spMkLst>
            <pc:docMk/>
            <pc:sldMk cId="2781948424" sldId="2145706655"/>
            <ac:spMk id="97" creationId="{2A81A195-2676-44C4-896D-689E59A38CEC}"/>
          </ac:spMkLst>
        </pc:spChg>
        <pc:spChg chg="add mod">
          <ac:chgData name="Daniel Barnes" userId="b303a15ee67145ed" providerId="LiveId" clId="{4A5A1811-DFF2-43F5-A7A7-22A66EF04CEB}" dt="2022-03-13T21:35:20.494" v="3203" actId="1076"/>
          <ac:spMkLst>
            <pc:docMk/>
            <pc:sldMk cId="2781948424" sldId="2145706655"/>
            <ac:spMk id="98" creationId="{E7156280-6B7B-4263-AB17-22F35BB5C7C3}"/>
          </ac:spMkLst>
        </pc:spChg>
        <pc:spChg chg="add mod">
          <ac:chgData name="Daniel Barnes" userId="b303a15ee67145ed" providerId="LiveId" clId="{4A5A1811-DFF2-43F5-A7A7-22A66EF04CEB}" dt="2022-03-13T21:35:52.450" v="3208" actId="20577"/>
          <ac:spMkLst>
            <pc:docMk/>
            <pc:sldMk cId="2781948424" sldId="2145706655"/>
            <ac:spMk id="99" creationId="{1CC2D145-0795-41DD-8639-5A50A568CAFD}"/>
          </ac:spMkLst>
        </pc:spChg>
        <pc:spChg chg="add mod">
          <ac:chgData name="Daniel Barnes" userId="b303a15ee67145ed" providerId="LiveId" clId="{4A5A1811-DFF2-43F5-A7A7-22A66EF04CEB}" dt="2022-03-13T21:35:42.548" v="3205" actId="1076"/>
          <ac:spMkLst>
            <pc:docMk/>
            <pc:sldMk cId="2781948424" sldId="2145706655"/>
            <ac:spMk id="105" creationId="{AF5F8729-7120-4FC0-A214-0E201FF45A95}"/>
          </ac:spMkLst>
        </pc:spChg>
        <pc:spChg chg="add mod">
          <ac:chgData name="Daniel Barnes" userId="b303a15ee67145ed" providerId="LiveId" clId="{4A5A1811-DFF2-43F5-A7A7-22A66EF04CEB}" dt="2022-03-13T21:36:04.169" v="3212" actId="20577"/>
          <ac:spMkLst>
            <pc:docMk/>
            <pc:sldMk cId="2781948424" sldId="2145706655"/>
            <ac:spMk id="106" creationId="{64B7EFC1-B1A7-4EAA-A519-F90F8E046CAD}"/>
          </ac:spMkLst>
        </pc:spChg>
        <pc:grpChg chg="add mod">
          <ac:chgData name="Daniel Barnes" userId="b303a15ee67145ed" providerId="LiveId" clId="{4A5A1811-DFF2-43F5-A7A7-22A66EF04CEB}" dt="2022-03-13T21:30:33.717" v="3144" actId="164"/>
          <ac:grpSpMkLst>
            <pc:docMk/>
            <pc:sldMk cId="2781948424" sldId="2145706655"/>
            <ac:grpSpMk id="17" creationId="{687CE674-95E2-41B5-BCC7-71DE5D1AE7EA}"/>
          </ac:grpSpMkLst>
        </pc:grpChg>
        <pc:grpChg chg="add mod">
          <ac:chgData name="Daniel Barnes" userId="b303a15ee67145ed" providerId="LiveId" clId="{4A5A1811-DFF2-43F5-A7A7-22A66EF04CEB}" dt="2022-03-13T21:34:06.093" v="3188" actId="164"/>
          <ac:grpSpMkLst>
            <pc:docMk/>
            <pc:sldMk cId="2781948424" sldId="2145706655"/>
            <ac:grpSpMk id="28" creationId="{F7D9EF03-0D98-4A64-B0CA-E0D795AFB3A9}"/>
          </ac:grpSpMkLst>
        </pc:grpChg>
        <pc:grpChg chg="add mod">
          <ac:chgData name="Daniel Barnes" userId="b303a15ee67145ed" providerId="LiveId" clId="{4A5A1811-DFF2-43F5-A7A7-22A66EF04CEB}" dt="2022-03-13T21:34:08.309" v="3189" actId="164"/>
          <ac:grpSpMkLst>
            <pc:docMk/>
            <pc:sldMk cId="2781948424" sldId="2145706655"/>
            <ac:grpSpMk id="29" creationId="{8E1813E3-CDF6-4256-8F01-D02553A05958}"/>
          </ac:grpSpMkLst>
        </pc:grpChg>
        <pc:grpChg chg="add mod">
          <ac:chgData name="Daniel Barnes" userId="b303a15ee67145ed" providerId="LiveId" clId="{4A5A1811-DFF2-43F5-A7A7-22A66EF04CEB}" dt="2022-03-13T21:34:14.620" v="3191" actId="164"/>
          <ac:grpSpMkLst>
            <pc:docMk/>
            <pc:sldMk cId="2781948424" sldId="2145706655"/>
            <ac:grpSpMk id="34" creationId="{712E12DA-CB43-4C1A-9866-8734870251A9}"/>
          </ac:grpSpMkLst>
        </pc:grpChg>
        <pc:grpChg chg="add mod">
          <ac:chgData name="Daniel Barnes" userId="b303a15ee67145ed" providerId="LiveId" clId="{4A5A1811-DFF2-43F5-A7A7-22A66EF04CEB}" dt="2022-03-13T21:34:35.655" v="3194" actId="12788"/>
          <ac:grpSpMkLst>
            <pc:docMk/>
            <pc:sldMk cId="2781948424" sldId="2145706655"/>
            <ac:grpSpMk id="35" creationId="{92EA4B77-B14B-4AED-97DA-838569B509F9}"/>
          </ac:grpSpMkLst>
        </pc:grpChg>
        <pc:grpChg chg="add mod">
          <ac:chgData name="Daniel Barnes" userId="b303a15ee67145ed" providerId="LiveId" clId="{4A5A1811-DFF2-43F5-A7A7-22A66EF04CEB}" dt="2022-03-13T21:34:35.655" v="3194" actId="12788"/>
          <ac:grpSpMkLst>
            <pc:docMk/>
            <pc:sldMk cId="2781948424" sldId="2145706655"/>
            <ac:grpSpMk id="36" creationId="{C68EC541-DE3E-4EBC-81B6-66449314609B}"/>
          </ac:grpSpMkLst>
        </pc:grpChg>
        <pc:grpChg chg="add mod">
          <ac:chgData name="Daniel Barnes" userId="b303a15ee67145ed" providerId="LiveId" clId="{4A5A1811-DFF2-43F5-A7A7-22A66EF04CEB}" dt="2022-03-13T21:34:35.655" v="3194" actId="12788"/>
          <ac:grpSpMkLst>
            <pc:docMk/>
            <pc:sldMk cId="2781948424" sldId="2145706655"/>
            <ac:grpSpMk id="37" creationId="{C98B6911-FF5D-43E7-9056-26CA6E55DD15}"/>
          </ac:grpSpMkLst>
        </pc:grpChg>
        <pc:grpChg chg="add mod">
          <ac:chgData name="Daniel Barnes" userId="b303a15ee67145ed" providerId="LiveId" clId="{4A5A1811-DFF2-43F5-A7A7-22A66EF04CEB}" dt="2022-03-13T21:34:35.655" v="3194" actId="12788"/>
          <ac:grpSpMkLst>
            <pc:docMk/>
            <pc:sldMk cId="2781948424" sldId="2145706655"/>
            <ac:grpSpMk id="38" creationId="{82F9CF10-30F9-48AF-A7CC-7062B101402C}"/>
          </ac:grpSpMkLst>
        </pc:grpChg>
        <pc:grpChg chg="del">
          <ac:chgData name="Daniel Barnes" userId="b303a15ee67145ed" providerId="LiveId" clId="{4A5A1811-DFF2-43F5-A7A7-22A66EF04CEB}" dt="2022-03-13T21:26:38.272" v="3092" actId="478"/>
          <ac:grpSpMkLst>
            <pc:docMk/>
            <pc:sldMk cId="2781948424" sldId="2145706655"/>
            <ac:grpSpMk id="84" creationId="{E4B1302A-0480-4B14-9F6F-B68391E5E3B0}"/>
          </ac:grpSpMkLst>
        </pc:grpChg>
        <pc:grpChg chg="del">
          <ac:chgData name="Daniel Barnes" userId="b303a15ee67145ed" providerId="LiveId" clId="{4A5A1811-DFF2-43F5-A7A7-22A66EF04CEB}" dt="2022-03-13T21:26:39.281" v="3093" actId="478"/>
          <ac:grpSpMkLst>
            <pc:docMk/>
            <pc:sldMk cId="2781948424" sldId="2145706655"/>
            <ac:grpSpMk id="85" creationId="{6C3719D0-CD61-4D43-8859-90C4B6F9BCE6}"/>
          </ac:grpSpMkLst>
        </pc:grpChg>
        <pc:grpChg chg="del">
          <ac:chgData name="Daniel Barnes" userId="b303a15ee67145ed" providerId="LiveId" clId="{4A5A1811-DFF2-43F5-A7A7-22A66EF04CEB}" dt="2022-03-13T21:26:37.561" v="3091" actId="478"/>
          <ac:grpSpMkLst>
            <pc:docMk/>
            <pc:sldMk cId="2781948424" sldId="2145706655"/>
            <ac:grpSpMk id="87" creationId="{6FAEACA3-D006-419F-9B72-AEBBFCA9B32F}"/>
          </ac:grpSpMkLst>
        </pc:grpChg>
        <pc:grpChg chg="del">
          <ac:chgData name="Daniel Barnes" userId="b303a15ee67145ed" providerId="LiveId" clId="{4A5A1811-DFF2-43F5-A7A7-22A66EF04CEB}" dt="2022-03-13T21:26:36.809" v="3090" actId="478"/>
          <ac:grpSpMkLst>
            <pc:docMk/>
            <pc:sldMk cId="2781948424" sldId="2145706655"/>
            <ac:grpSpMk id="88" creationId="{AE86AD8F-0E9A-474F-B65D-73BD576D1A77}"/>
          </ac:grpSpMkLst>
        </pc:grpChg>
        <pc:picChg chg="add mod modCrop">
          <ac:chgData name="Daniel Barnes" userId="b303a15ee67145ed" providerId="LiveId" clId="{4A5A1811-DFF2-43F5-A7A7-22A66EF04CEB}" dt="2022-03-13T21:29:10.060" v="3127" actId="207"/>
          <ac:picMkLst>
            <pc:docMk/>
            <pc:sldMk cId="2781948424" sldId="2145706655"/>
            <ac:picMk id="6" creationId="{0D94EE98-C8BA-4088-9399-E3A6F93524AD}"/>
          </ac:picMkLst>
        </pc:picChg>
        <pc:picChg chg="add mod">
          <ac:chgData name="Daniel Barnes" userId="b303a15ee67145ed" providerId="LiveId" clId="{4A5A1811-DFF2-43F5-A7A7-22A66EF04CEB}" dt="2022-03-13T21:29:10.060" v="3127" actId="207"/>
          <ac:picMkLst>
            <pc:docMk/>
            <pc:sldMk cId="2781948424" sldId="2145706655"/>
            <ac:picMk id="8" creationId="{49F80C29-BD4E-4670-AFF0-F59E30604817}"/>
          </ac:picMkLst>
        </pc:picChg>
        <pc:picChg chg="add mod">
          <ac:chgData name="Daniel Barnes" userId="b303a15ee67145ed" providerId="LiveId" clId="{4A5A1811-DFF2-43F5-A7A7-22A66EF04CEB}" dt="2022-03-13T21:30:33.717" v="3144" actId="164"/>
          <ac:picMkLst>
            <pc:docMk/>
            <pc:sldMk cId="2781948424" sldId="2145706655"/>
            <ac:picMk id="10" creationId="{277E6190-5DA5-4D5A-96BA-1CD9654DE556}"/>
          </ac:picMkLst>
        </pc:picChg>
        <pc:picChg chg="add del mod">
          <ac:chgData name="Daniel Barnes" userId="b303a15ee67145ed" providerId="LiveId" clId="{4A5A1811-DFF2-43F5-A7A7-22A66EF04CEB}" dt="2022-03-13T21:23:53.561" v="3068" actId="478"/>
          <ac:picMkLst>
            <pc:docMk/>
            <pc:sldMk cId="2781948424" sldId="2145706655"/>
            <ac:picMk id="12" creationId="{5A86A287-DA03-4512-978B-FF29567B260B}"/>
          </ac:picMkLst>
        </pc:picChg>
        <pc:picChg chg="add mod ord">
          <ac:chgData name="Daniel Barnes" userId="b303a15ee67145ed" providerId="LiveId" clId="{4A5A1811-DFF2-43F5-A7A7-22A66EF04CEB}" dt="2022-03-13T21:24:20.053" v="3074" actId="164"/>
          <ac:picMkLst>
            <pc:docMk/>
            <pc:sldMk cId="2781948424" sldId="2145706655"/>
            <ac:picMk id="14" creationId="{8F30D176-1F26-4574-A3AE-DF6724CE75E0}"/>
          </ac:picMkLst>
        </pc:picChg>
        <pc:picChg chg="add mod ord modCrop">
          <ac:chgData name="Daniel Barnes" userId="b303a15ee67145ed" providerId="LiveId" clId="{4A5A1811-DFF2-43F5-A7A7-22A66EF04CEB}" dt="2022-03-13T21:24:35.251" v="3077" actId="1035"/>
          <ac:picMkLst>
            <pc:docMk/>
            <pc:sldMk cId="2781948424" sldId="2145706655"/>
            <ac:picMk id="16" creationId="{C4F55A5F-87B2-4210-A9EC-0FE7EF6DDB81}"/>
          </ac:picMkLst>
        </pc:picChg>
        <pc:picChg chg="add mod modCrop">
          <ac:chgData name="Daniel Barnes" userId="b303a15ee67145ed" providerId="LiveId" clId="{4A5A1811-DFF2-43F5-A7A7-22A66EF04CEB}" dt="2022-03-13T21:32:23.405" v="3160" actId="14100"/>
          <ac:picMkLst>
            <pc:docMk/>
            <pc:sldMk cId="2781948424" sldId="2145706655"/>
            <ac:picMk id="19" creationId="{DA39E6D6-5F71-4F33-B2F9-97EF92422C89}"/>
          </ac:picMkLst>
        </pc:picChg>
        <pc:picChg chg="add mod">
          <ac:chgData name="Daniel Barnes" userId="b303a15ee67145ed" providerId="LiveId" clId="{4A5A1811-DFF2-43F5-A7A7-22A66EF04CEB}" dt="2022-03-13T21:34:12.116" v="3190" actId="164"/>
          <ac:picMkLst>
            <pc:docMk/>
            <pc:sldMk cId="2781948424" sldId="2145706655"/>
            <ac:picMk id="21" creationId="{2B42FB22-101C-4599-82AD-6BFBBEB3B5E1}"/>
          </ac:picMkLst>
        </pc:picChg>
        <pc:picChg chg="add mod">
          <ac:chgData name="Daniel Barnes" userId="b303a15ee67145ed" providerId="LiveId" clId="{4A5A1811-DFF2-43F5-A7A7-22A66EF04CEB}" dt="2022-03-13T21:31:08.307" v="3149" actId="208"/>
          <ac:picMkLst>
            <pc:docMk/>
            <pc:sldMk cId="2781948424" sldId="2145706655"/>
            <ac:picMk id="23" creationId="{D7A64E16-D0A2-4B21-AA7C-834EE7126A30}"/>
          </ac:picMkLst>
        </pc:picChg>
        <pc:picChg chg="add mod">
          <ac:chgData name="Daniel Barnes" userId="b303a15ee67145ed" providerId="LiveId" clId="{4A5A1811-DFF2-43F5-A7A7-22A66EF04CEB}" dt="2022-03-13T21:31:08.307" v="3149" actId="208"/>
          <ac:picMkLst>
            <pc:docMk/>
            <pc:sldMk cId="2781948424" sldId="2145706655"/>
            <ac:picMk id="25" creationId="{2951F1BE-38E1-436B-BBA3-872D5BB60AF4}"/>
          </ac:picMkLst>
        </pc:picChg>
        <pc:picChg chg="add mod">
          <ac:chgData name="Daniel Barnes" userId="b303a15ee67145ed" providerId="LiveId" clId="{4A5A1811-DFF2-43F5-A7A7-22A66EF04CEB}" dt="2022-03-13T21:31:08.307" v="3149" actId="208"/>
          <ac:picMkLst>
            <pc:docMk/>
            <pc:sldMk cId="2781948424" sldId="2145706655"/>
            <ac:picMk id="27" creationId="{514F7056-FDCE-4BAB-B67C-3EA71DF9F716}"/>
          </ac:picMkLst>
        </pc:picChg>
        <pc:picChg chg="add mod modCrop">
          <ac:chgData name="Daniel Barnes" userId="b303a15ee67145ed" providerId="LiveId" clId="{4A5A1811-DFF2-43F5-A7A7-22A66EF04CEB}" dt="2022-03-13T21:29:10.060" v="3127" actId="207"/>
          <ac:picMkLst>
            <pc:docMk/>
            <pc:sldMk cId="2781948424" sldId="2145706655"/>
            <ac:picMk id="86" creationId="{D5E40F14-C243-45DC-A9AD-C3E089B083A3}"/>
          </ac:picMkLst>
        </pc:picChg>
      </pc:sldChg>
      <pc:sldChg chg="addSp delSp modSp del mod">
        <pc:chgData name="Daniel Barnes" userId="b303a15ee67145ed" providerId="LiveId" clId="{4A5A1811-DFF2-43F5-A7A7-22A66EF04CEB}" dt="2022-03-13T21:03:49.230" v="2918" actId="47"/>
        <pc:sldMkLst>
          <pc:docMk/>
          <pc:sldMk cId="838112012" sldId="2145706657"/>
        </pc:sldMkLst>
        <pc:grpChg chg="add del mod">
          <ac:chgData name="Daniel Barnes" userId="b303a15ee67145ed" providerId="LiveId" clId="{4A5A1811-DFF2-43F5-A7A7-22A66EF04CEB}" dt="2022-03-13T20:57:55.743" v="2861" actId="478"/>
          <ac:grpSpMkLst>
            <pc:docMk/>
            <pc:sldMk cId="838112012" sldId="2145706657"/>
            <ac:grpSpMk id="10" creationId="{F1A4A42A-D19C-4954-A065-ABB2C82CA71B}"/>
          </ac:grpSpMkLst>
        </pc:grpChg>
        <pc:grpChg chg="add del mod">
          <ac:chgData name="Daniel Barnes" userId="b303a15ee67145ed" providerId="LiveId" clId="{4A5A1811-DFF2-43F5-A7A7-22A66EF04CEB}" dt="2022-03-13T20:59:38.776" v="2877" actId="165"/>
          <ac:grpSpMkLst>
            <pc:docMk/>
            <pc:sldMk cId="838112012" sldId="2145706657"/>
            <ac:grpSpMk id="17" creationId="{DCD9FD01-1184-4E8D-9CBA-3FFB61DB3FC7}"/>
          </ac:grpSpMkLst>
        </pc:grpChg>
        <pc:picChg chg="add del mod topLvl">
          <ac:chgData name="Daniel Barnes" userId="b303a15ee67145ed" providerId="LiveId" clId="{4A5A1811-DFF2-43F5-A7A7-22A66EF04CEB}" dt="2022-03-13T20:57:56.114" v="2862" actId="478"/>
          <ac:picMkLst>
            <pc:docMk/>
            <pc:sldMk cId="838112012" sldId="2145706657"/>
            <ac:picMk id="4" creationId="{5FDF5136-D6E8-4A3A-A3CF-ED1EEAF454B4}"/>
          </ac:picMkLst>
        </pc:picChg>
        <pc:picChg chg="add del mod">
          <ac:chgData name="Daniel Barnes" userId="b303a15ee67145ed" providerId="LiveId" clId="{4A5A1811-DFF2-43F5-A7A7-22A66EF04CEB}" dt="2022-03-13T20:57:00.911" v="2851" actId="478"/>
          <ac:picMkLst>
            <pc:docMk/>
            <pc:sldMk cId="838112012" sldId="2145706657"/>
            <ac:picMk id="6" creationId="{6C5D9C7D-A0E3-468E-A710-F7F983DF2338}"/>
          </ac:picMkLst>
        </pc:picChg>
        <pc:picChg chg="add del mod topLvl">
          <ac:chgData name="Daniel Barnes" userId="b303a15ee67145ed" providerId="LiveId" clId="{4A5A1811-DFF2-43F5-A7A7-22A66EF04CEB}" dt="2022-03-13T20:57:55.743" v="2861" actId="478"/>
          <ac:picMkLst>
            <pc:docMk/>
            <pc:sldMk cId="838112012" sldId="2145706657"/>
            <ac:picMk id="9" creationId="{07ED34C3-9B7C-44FF-A462-17B290FFFDD3}"/>
          </ac:picMkLst>
        </pc:picChg>
        <pc:picChg chg="add mod topLvl">
          <ac:chgData name="Daniel Barnes" userId="b303a15ee67145ed" providerId="LiveId" clId="{4A5A1811-DFF2-43F5-A7A7-22A66EF04CEB}" dt="2022-03-13T20:59:38.776" v="2877" actId="165"/>
          <ac:picMkLst>
            <pc:docMk/>
            <pc:sldMk cId="838112012" sldId="2145706657"/>
            <ac:picMk id="14" creationId="{43B9C8A0-8640-47D3-B185-30DC8761039E}"/>
          </ac:picMkLst>
        </pc:picChg>
        <pc:picChg chg="add mod topLvl">
          <ac:chgData name="Daniel Barnes" userId="b303a15ee67145ed" providerId="LiveId" clId="{4A5A1811-DFF2-43F5-A7A7-22A66EF04CEB}" dt="2022-03-13T20:59:38.776" v="2877" actId="165"/>
          <ac:picMkLst>
            <pc:docMk/>
            <pc:sldMk cId="838112012" sldId="2145706657"/>
            <ac:picMk id="16" creationId="{A325448A-C384-4DF2-B9BF-A96687A7C9EF}"/>
          </ac:picMkLst>
        </pc:picChg>
        <pc:picChg chg="add mod">
          <ac:chgData name="Daniel Barnes" userId="b303a15ee67145ed" providerId="LiveId" clId="{4A5A1811-DFF2-43F5-A7A7-22A66EF04CEB}" dt="2022-03-13T21:01:31.858" v="2881" actId="108"/>
          <ac:picMkLst>
            <pc:docMk/>
            <pc:sldMk cId="838112012" sldId="2145706657"/>
            <ac:picMk id="19" creationId="{D7E53016-BAA8-40A7-B983-27AD4344024D}"/>
          </ac:picMkLst>
        </pc:picChg>
      </pc:sldChg>
      <pc:sldChg chg="addSp delSp modSp del mod">
        <pc:chgData name="Daniel Barnes" userId="b303a15ee67145ed" providerId="LiveId" clId="{4A5A1811-DFF2-43F5-A7A7-22A66EF04CEB}" dt="2022-03-13T21:18:10.752" v="2998" actId="47"/>
        <pc:sldMkLst>
          <pc:docMk/>
          <pc:sldMk cId="2137538481" sldId="2145706658"/>
        </pc:sldMkLst>
        <pc:picChg chg="add del mod">
          <ac:chgData name="Daniel Barnes" userId="b303a15ee67145ed" providerId="LiveId" clId="{4A5A1811-DFF2-43F5-A7A7-22A66EF04CEB}" dt="2022-03-13T21:17:36.929" v="2992" actId="478"/>
          <ac:picMkLst>
            <pc:docMk/>
            <pc:sldMk cId="2137538481" sldId="2145706658"/>
            <ac:picMk id="4" creationId="{9C5FFD87-EBE2-4D80-B193-E35D44FF2CFF}"/>
          </ac:picMkLst>
        </pc:picChg>
        <pc:picChg chg="add del mod">
          <ac:chgData name="Daniel Barnes" userId="b303a15ee67145ed" providerId="LiveId" clId="{4A5A1811-DFF2-43F5-A7A7-22A66EF04CEB}" dt="2022-03-13T21:07:31.362" v="2943" actId="478"/>
          <ac:picMkLst>
            <pc:docMk/>
            <pc:sldMk cId="2137538481" sldId="2145706658"/>
            <ac:picMk id="9" creationId="{0095FFBE-2F96-4684-8261-33FF2E356054}"/>
          </ac:picMkLst>
        </pc:picChg>
        <pc:picChg chg="add del mod">
          <ac:chgData name="Daniel Barnes" userId="b303a15ee67145ed" providerId="LiveId" clId="{4A5A1811-DFF2-43F5-A7A7-22A66EF04CEB}" dt="2022-03-13T21:17:37.785" v="2994" actId="478"/>
          <ac:picMkLst>
            <pc:docMk/>
            <pc:sldMk cId="2137538481" sldId="2145706658"/>
            <ac:picMk id="11" creationId="{5D54D69A-7319-4A47-8EAF-58E0202689D4}"/>
          </ac:picMkLst>
        </pc:picChg>
        <pc:picChg chg="add del mod">
          <ac:chgData name="Daniel Barnes" userId="b303a15ee67145ed" providerId="LiveId" clId="{4A5A1811-DFF2-43F5-A7A7-22A66EF04CEB}" dt="2022-03-13T21:17:37.395" v="2993" actId="478"/>
          <ac:picMkLst>
            <pc:docMk/>
            <pc:sldMk cId="2137538481" sldId="2145706658"/>
            <ac:picMk id="13" creationId="{1614A4DD-7BA2-4CC4-81C5-04D72C7C2CAF}"/>
          </ac:picMkLst>
        </pc:picChg>
      </pc:sldChg>
      <pc:sldChg chg="addSp delSp modSp del mod">
        <pc:chgData name="Daniel Barnes" userId="b303a15ee67145ed" providerId="LiveId" clId="{4A5A1811-DFF2-43F5-A7A7-22A66EF04CEB}" dt="2022-03-13T22:08:28.001" v="3632" actId="47"/>
        <pc:sldMkLst>
          <pc:docMk/>
          <pc:sldMk cId="703677797" sldId="2145706659"/>
        </pc:sldMkLst>
        <pc:spChg chg="add mod">
          <ac:chgData name="Daniel Barnes" userId="b303a15ee67145ed" providerId="LiveId" clId="{4A5A1811-DFF2-43F5-A7A7-22A66EF04CEB}" dt="2022-03-13T19:54:39.692" v="1014" actId="1076"/>
          <ac:spMkLst>
            <pc:docMk/>
            <pc:sldMk cId="703677797" sldId="2145706659"/>
            <ac:spMk id="45" creationId="{8EC6F565-658E-44CA-878B-FAF35AE9E6AA}"/>
          </ac:spMkLst>
        </pc:spChg>
        <pc:picChg chg="add del mod">
          <ac:chgData name="Daniel Barnes" userId="b303a15ee67145ed" providerId="LiveId" clId="{4A5A1811-DFF2-43F5-A7A7-22A66EF04CEB}" dt="2022-03-13T20:02:14.157" v="1075" actId="21"/>
          <ac:picMkLst>
            <pc:docMk/>
            <pc:sldMk cId="703677797" sldId="2145706659"/>
            <ac:picMk id="18" creationId="{31292026-A7EF-439B-8447-210D39B44736}"/>
          </ac:picMkLst>
        </pc:picChg>
      </pc:sldChg>
      <pc:sldChg chg="modSp del mod">
        <pc:chgData name="Daniel Barnes" userId="b303a15ee67145ed" providerId="LiveId" clId="{4A5A1811-DFF2-43F5-A7A7-22A66EF04CEB}" dt="2022-03-13T19:41:05.710" v="980" actId="47"/>
        <pc:sldMkLst>
          <pc:docMk/>
          <pc:sldMk cId="3291234092" sldId="2145706660"/>
        </pc:sldMkLst>
        <pc:spChg chg="mod">
          <ac:chgData name="Daniel Barnes" userId="b303a15ee67145ed" providerId="LiveId" clId="{4A5A1811-DFF2-43F5-A7A7-22A66EF04CEB}" dt="2022-03-13T19:20:20.757" v="245" actId="14100"/>
          <ac:spMkLst>
            <pc:docMk/>
            <pc:sldMk cId="3291234092" sldId="2145706660"/>
            <ac:spMk id="15" creationId="{13EE817D-A4E8-48C0-A58E-2B4150E27141}"/>
          </ac:spMkLst>
        </pc:spChg>
        <pc:spChg chg="mod">
          <ac:chgData name="Daniel Barnes" userId="b303a15ee67145ed" providerId="LiveId" clId="{4A5A1811-DFF2-43F5-A7A7-22A66EF04CEB}" dt="2022-03-13T19:31:35.007" v="756" actId="20577"/>
          <ac:spMkLst>
            <pc:docMk/>
            <pc:sldMk cId="3291234092" sldId="2145706660"/>
            <ac:spMk id="17" creationId="{622DA3B6-DC47-4B36-985D-C5E3E531C22F}"/>
          </ac:spMkLst>
        </pc:spChg>
      </pc:sldChg>
      <pc:sldChg chg="addSp delSp modSp add mod ord">
        <pc:chgData name="Daniel Barnes" userId="b303a15ee67145ed" providerId="LiveId" clId="{4A5A1811-DFF2-43F5-A7A7-22A66EF04CEB}" dt="2022-03-21T20:57:38.109" v="5397"/>
        <pc:sldMkLst>
          <pc:docMk/>
          <pc:sldMk cId="763365567" sldId="2145706661"/>
        </pc:sldMkLst>
        <pc:spChg chg="mod">
          <ac:chgData name="Daniel Barnes" userId="b303a15ee67145ed" providerId="LiveId" clId="{4A5A1811-DFF2-43F5-A7A7-22A66EF04CEB}" dt="2022-03-13T19:20:33.195" v="248" actId="14100"/>
          <ac:spMkLst>
            <pc:docMk/>
            <pc:sldMk cId="763365567" sldId="2145706661"/>
            <ac:spMk id="15" creationId="{13EE817D-A4E8-48C0-A58E-2B4150E27141}"/>
          </ac:spMkLst>
        </pc:spChg>
        <pc:spChg chg="mod">
          <ac:chgData name="Daniel Barnes" userId="b303a15ee67145ed" providerId="LiveId" clId="{4A5A1811-DFF2-43F5-A7A7-22A66EF04CEB}" dt="2022-03-21T20:57:38.109" v="5397"/>
          <ac:spMkLst>
            <pc:docMk/>
            <pc:sldMk cId="763365567" sldId="2145706661"/>
            <ac:spMk id="17" creationId="{622DA3B6-DC47-4B36-985D-C5E3E531C22F}"/>
          </ac:spMkLst>
        </pc:spChg>
        <pc:spChg chg="mod">
          <ac:chgData name="Daniel Barnes" userId="b303a15ee67145ed" providerId="LiveId" clId="{4A5A1811-DFF2-43F5-A7A7-22A66EF04CEB}" dt="2022-03-13T19:19:53.217" v="241" actId="20577"/>
          <ac:spMkLst>
            <pc:docMk/>
            <pc:sldMk cId="763365567" sldId="2145706661"/>
            <ac:spMk id="18" creationId="{B1F1B55C-742A-4DEB-9AC0-DEF9057B1345}"/>
          </ac:spMkLst>
        </pc:spChg>
        <pc:picChg chg="add mod">
          <ac:chgData name="Daniel Barnes" userId="b303a15ee67145ed" providerId="LiveId" clId="{4A5A1811-DFF2-43F5-A7A7-22A66EF04CEB}" dt="2022-03-13T19:20:36.988" v="249" actId="14100"/>
          <ac:picMkLst>
            <pc:docMk/>
            <pc:sldMk cId="763365567" sldId="2145706661"/>
            <ac:picMk id="2" creationId="{66828EB0-D704-4688-BB75-6EA2EB58279A}"/>
          </ac:picMkLst>
        </pc:picChg>
        <pc:picChg chg="del">
          <ac:chgData name="Daniel Barnes" userId="b303a15ee67145ed" providerId="LiveId" clId="{4A5A1811-DFF2-43F5-A7A7-22A66EF04CEB}" dt="2022-03-13T19:19:26.427" v="223" actId="478"/>
          <ac:picMkLst>
            <pc:docMk/>
            <pc:sldMk cId="763365567" sldId="2145706661"/>
            <ac:picMk id="6" creationId="{169CE947-2EEF-4189-BB22-C2D32EFD44E7}"/>
          </ac:picMkLst>
        </pc:picChg>
      </pc:sldChg>
      <pc:sldChg chg="delSp modSp add mod modClrScheme chgLayout">
        <pc:chgData name="Daniel Barnes" userId="b303a15ee67145ed" providerId="LiveId" clId="{4A5A1811-DFF2-43F5-A7A7-22A66EF04CEB}" dt="2022-04-03T12:43:38.567" v="22138" actId="20577"/>
        <pc:sldMkLst>
          <pc:docMk/>
          <pc:sldMk cId="1276081675" sldId="2145706662"/>
        </pc:sldMkLst>
        <pc:spChg chg="mod ord">
          <ac:chgData name="Daniel Barnes" userId="b303a15ee67145ed" providerId="LiveId" clId="{4A5A1811-DFF2-43F5-A7A7-22A66EF04CEB}" dt="2022-03-13T19:40:42.286" v="976" actId="700"/>
          <ac:spMkLst>
            <pc:docMk/>
            <pc:sldMk cId="1276081675" sldId="2145706662"/>
            <ac:spMk id="13" creationId="{804BABCD-5D07-421C-B8F7-FD9A7A6607C0}"/>
          </ac:spMkLst>
        </pc:spChg>
        <pc:spChg chg="mod ord">
          <ac:chgData name="Daniel Barnes" userId="b303a15ee67145ed" providerId="LiveId" clId="{4A5A1811-DFF2-43F5-A7A7-22A66EF04CEB}" dt="2022-04-03T12:43:38.567" v="22138" actId="20577"/>
          <ac:spMkLst>
            <pc:docMk/>
            <pc:sldMk cId="1276081675" sldId="2145706662"/>
            <ac:spMk id="17" creationId="{622DA3B6-DC47-4B36-985D-C5E3E531C22F}"/>
          </ac:spMkLst>
        </pc:spChg>
        <pc:spChg chg="del">
          <ac:chgData name="Daniel Barnes" userId="b303a15ee67145ed" providerId="LiveId" clId="{4A5A1811-DFF2-43F5-A7A7-22A66EF04CEB}" dt="2022-03-13T19:32:28.464" v="762" actId="478"/>
          <ac:spMkLst>
            <pc:docMk/>
            <pc:sldMk cId="1276081675" sldId="2145706662"/>
            <ac:spMk id="18" creationId="{B1F1B55C-742A-4DEB-9AC0-DEF9057B1345}"/>
          </ac:spMkLst>
        </pc:spChg>
        <pc:picChg chg="del">
          <ac:chgData name="Daniel Barnes" userId="b303a15ee67145ed" providerId="LiveId" clId="{4A5A1811-DFF2-43F5-A7A7-22A66EF04CEB}" dt="2022-03-13T19:32:05.360" v="759" actId="478"/>
          <ac:picMkLst>
            <pc:docMk/>
            <pc:sldMk cId="1276081675" sldId="2145706662"/>
            <ac:picMk id="6" creationId="{169CE947-2EEF-4189-BB22-C2D32EFD44E7}"/>
          </ac:picMkLst>
        </pc:picChg>
      </pc:sldChg>
      <pc:sldChg chg="addSp delSp modSp add mod ord">
        <pc:chgData name="Daniel Barnes" userId="b303a15ee67145ed" providerId="LiveId" clId="{4A5A1811-DFF2-43F5-A7A7-22A66EF04CEB}" dt="2022-04-03T12:51:17.437" v="22215" actId="208"/>
        <pc:sldMkLst>
          <pc:docMk/>
          <pc:sldMk cId="390523467" sldId="2145706663"/>
        </pc:sldMkLst>
        <pc:spChg chg="mod">
          <ac:chgData name="Daniel Barnes" userId="b303a15ee67145ed" providerId="LiveId" clId="{4A5A1811-DFF2-43F5-A7A7-22A66EF04CEB}" dt="2022-03-13T20:28:22.208" v="2235" actId="6549"/>
          <ac:spMkLst>
            <pc:docMk/>
            <pc:sldMk cId="390523467" sldId="2145706663"/>
            <ac:spMk id="2" creationId="{0107FA66-646B-42C0-A453-9C2949F7188C}"/>
          </ac:spMkLst>
        </pc:spChg>
        <pc:spChg chg="mod">
          <ac:chgData name="Daniel Barnes" userId="b303a15ee67145ed" providerId="LiveId" clId="{4A5A1811-DFF2-43F5-A7A7-22A66EF04CEB}" dt="2022-03-21T23:39:40.745" v="12641" actId="6549"/>
          <ac:spMkLst>
            <pc:docMk/>
            <pc:sldMk cId="390523467" sldId="2145706663"/>
            <ac:spMk id="3" creationId="{E6EB4016-53BF-47E2-8C18-4CAA9DE4C1F2}"/>
          </ac:spMkLst>
        </pc:spChg>
        <pc:spChg chg="add del mod">
          <ac:chgData name="Daniel Barnes" userId="b303a15ee67145ed" providerId="LiveId" clId="{4A5A1811-DFF2-43F5-A7A7-22A66EF04CEB}" dt="2022-03-13T20:46:38.412" v="2842" actId="478"/>
          <ac:spMkLst>
            <pc:docMk/>
            <pc:sldMk cId="390523467" sldId="2145706663"/>
            <ac:spMk id="14" creationId="{4E79F1BB-0ABB-4BCB-9649-A0C781E46BBF}"/>
          </ac:spMkLst>
        </pc:spChg>
        <pc:spChg chg="add del mod">
          <ac:chgData name="Daniel Barnes" userId="b303a15ee67145ed" providerId="LiveId" clId="{4A5A1811-DFF2-43F5-A7A7-22A66EF04CEB}" dt="2022-04-03T12:45:58.414" v="22152" actId="478"/>
          <ac:spMkLst>
            <pc:docMk/>
            <pc:sldMk cId="390523467" sldId="2145706663"/>
            <ac:spMk id="14" creationId="{D7631D40-9A0F-43F1-A995-8AA12EE28F48}"/>
          </ac:spMkLst>
        </pc:spChg>
        <pc:spChg chg="add del mod">
          <ac:chgData name="Daniel Barnes" userId="b303a15ee67145ed" providerId="LiveId" clId="{4A5A1811-DFF2-43F5-A7A7-22A66EF04CEB}" dt="2022-03-13T20:46:38.412" v="2842" actId="478"/>
          <ac:spMkLst>
            <pc:docMk/>
            <pc:sldMk cId="390523467" sldId="2145706663"/>
            <ac:spMk id="16" creationId="{4E3D8171-1CEB-4821-82E1-A99843F5ED6E}"/>
          </ac:spMkLst>
        </pc:spChg>
        <pc:spChg chg="add del mod">
          <ac:chgData name="Daniel Barnes" userId="b303a15ee67145ed" providerId="LiveId" clId="{4A5A1811-DFF2-43F5-A7A7-22A66EF04CEB}" dt="2022-03-13T20:46:38.412" v="2842" actId="478"/>
          <ac:spMkLst>
            <pc:docMk/>
            <pc:sldMk cId="390523467" sldId="2145706663"/>
            <ac:spMk id="19" creationId="{AEC95172-55FD-435B-9C98-80F6B1EECF2B}"/>
          </ac:spMkLst>
        </pc:spChg>
        <pc:spChg chg="add del mod">
          <ac:chgData name="Daniel Barnes" userId="b303a15ee67145ed" providerId="LiveId" clId="{4A5A1811-DFF2-43F5-A7A7-22A66EF04CEB}" dt="2022-03-13T22:14:28.053" v="3737" actId="478"/>
          <ac:spMkLst>
            <pc:docMk/>
            <pc:sldMk cId="390523467" sldId="2145706663"/>
            <ac:spMk id="21" creationId="{54E15FD8-D0F0-4E24-9E52-8214FA6072FF}"/>
          </ac:spMkLst>
        </pc:spChg>
        <pc:spChg chg="del mod">
          <ac:chgData name="Daniel Barnes" userId="b303a15ee67145ed" providerId="LiveId" clId="{4A5A1811-DFF2-43F5-A7A7-22A66EF04CEB}" dt="2022-03-13T20:28:12.221" v="2233" actId="478"/>
          <ac:spMkLst>
            <pc:docMk/>
            <pc:sldMk cId="390523467" sldId="2145706663"/>
            <ac:spMk id="22" creationId="{543E940A-428F-47B4-AA86-2F8DD5AD69B7}"/>
          </ac:spMkLst>
        </pc:spChg>
        <pc:spChg chg="del mod">
          <ac:chgData name="Daniel Barnes" userId="b303a15ee67145ed" providerId="LiveId" clId="{4A5A1811-DFF2-43F5-A7A7-22A66EF04CEB}" dt="2022-03-13T22:09:35.407" v="3642" actId="478"/>
          <ac:spMkLst>
            <pc:docMk/>
            <pc:sldMk cId="390523467" sldId="2145706663"/>
            <ac:spMk id="28" creationId="{F18A8B58-16F5-486A-A861-BB2353E42E2B}"/>
          </ac:spMkLst>
        </pc:spChg>
        <pc:spChg chg="del mod">
          <ac:chgData name="Daniel Barnes" userId="b303a15ee67145ed" providerId="LiveId" clId="{4A5A1811-DFF2-43F5-A7A7-22A66EF04CEB}" dt="2022-03-13T22:09:38.790" v="3643" actId="478"/>
          <ac:spMkLst>
            <pc:docMk/>
            <pc:sldMk cId="390523467" sldId="2145706663"/>
            <ac:spMk id="29" creationId="{77333FD3-B030-4DB5-BBEB-5730C8DDE987}"/>
          </ac:spMkLst>
        </pc:spChg>
        <pc:spChg chg="mod">
          <ac:chgData name="Daniel Barnes" userId="b303a15ee67145ed" providerId="LiveId" clId="{4A5A1811-DFF2-43F5-A7A7-22A66EF04CEB}" dt="2022-03-13T22:13:47.268" v="3732" actId="14100"/>
          <ac:spMkLst>
            <pc:docMk/>
            <pc:sldMk cId="390523467" sldId="2145706663"/>
            <ac:spMk id="30" creationId="{8F34BDB0-4777-4522-8383-F32F962316D1}"/>
          </ac:spMkLst>
        </pc:spChg>
        <pc:spChg chg="mod">
          <ac:chgData name="Daniel Barnes" userId="b303a15ee67145ed" providerId="LiveId" clId="{4A5A1811-DFF2-43F5-A7A7-22A66EF04CEB}" dt="2022-03-13T22:11:34.925" v="3680" actId="165"/>
          <ac:spMkLst>
            <pc:docMk/>
            <pc:sldMk cId="390523467" sldId="2145706663"/>
            <ac:spMk id="31" creationId="{D70C463A-494E-4E13-B94C-D8EA4F5BD37B}"/>
          </ac:spMkLst>
        </pc:spChg>
        <pc:spChg chg="mod">
          <ac:chgData name="Daniel Barnes" userId="b303a15ee67145ed" providerId="LiveId" clId="{4A5A1811-DFF2-43F5-A7A7-22A66EF04CEB}" dt="2022-03-13T22:13:49.819" v="3733" actId="14100"/>
          <ac:spMkLst>
            <pc:docMk/>
            <pc:sldMk cId="390523467" sldId="2145706663"/>
            <ac:spMk id="32" creationId="{CB44A4ED-C1E7-4A3C-BF29-8735A3CA16A4}"/>
          </ac:spMkLst>
        </pc:spChg>
        <pc:spChg chg="mod">
          <ac:chgData name="Daniel Barnes" userId="b303a15ee67145ed" providerId="LiveId" clId="{4A5A1811-DFF2-43F5-A7A7-22A66EF04CEB}" dt="2022-03-13T22:11:34.925" v="3680" actId="165"/>
          <ac:spMkLst>
            <pc:docMk/>
            <pc:sldMk cId="390523467" sldId="2145706663"/>
            <ac:spMk id="33" creationId="{6A5E869C-1E0D-49EF-87DC-51EC8CC3C0DB}"/>
          </ac:spMkLst>
        </pc:spChg>
        <pc:spChg chg="mod">
          <ac:chgData name="Daniel Barnes" userId="b303a15ee67145ed" providerId="LiveId" clId="{4A5A1811-DFF2-43F5-A7A7-22A66EF04CEB}" dt="2022-03-13T22:13:52.940" v="3734" actId="14100"/>
          <ac:spMkLst>
            <pc:docMk/>
            <pc:sldMk cId="390523467" sldId="2145706663"/>
            <ac:spMk id="34" creationId="{11E988FF-CE47-4A10-9650-62D654384C02}"/>
          </ac:spMkLst>
        </pc:spChg>
        <pc:spChg chg="mod">
          <ac:chgData name="Daniel Barnes" userId="b303a15ee67145ed" providerId="LiveId" clId="{4A5A1811-DFF2-43F5-A7A7-22A66EF04CEB}" dt="2022-03-13T22:11:34.925" v="3680" actId="165"/>
          <ac:spMkLst>
            <pc:docMk/>
            <pc:sldMk cId="390523467" sldId="2145706663"/>
            <ac:spMk id="35" creationId="{5C0E4D11-4DD8-44B9-9D6E-F67729B9285F}"/>
          </ac:spMkLst>
        </pc:spChg>
        <pc:spChg chg="add mod topLvl">
          <ac:chgData name="Daniel Barnes" userId="b303a15ee67145ed" providerId="LiveId" clId="{4A5A1811-DFF2-43F5-A7A7-22A66EF04CEB}" dt="2022-04-03T12:44:52.318" v="22142" actId="165"/>
          <ac:spMkLst>
            <pc:docMk/>
            <pc:sldMk cId="390523467" sldId="2145706663"/>
            <ac:spMk id="36" creationId="{E4E524EA-EA80-4A0C-9D92-2380D4F9BC81}"/>
          </ac:spMkLst>
        </pc:spChg>
        <pc:spChg chg="add mod topLvl">
          <ac:chgData name="Daniel Barnes" userId="b303a15ee67145ed" providerId="LiveId" clId="{4A5A1811-DFF2-43F5-A7A7-22A66EF04CEB}" dt="2022-04-03T12:44:52.318" v="22142" actId="165"/>
          <ac:spMkLst>
            <pc:docMk/>
            <pc:sldMk cId="390523467" sldId="2145706663"/>
            <ac:spMk id="37" creationId="{16529085-605B-4B27-AD4D-35152471B00E}"/>
          </ac:spMkLst>
        </pc:spChg>
        <pc:spChg chg="add mod topLvl">
          <ac:chgData name="Daniel Barnes" userId="b303a15ee67145ed" providerId="LiveId" clId="{4A5A1811-DFF2-43F5-A7A7-22A66EF04CEB}" dt="2022-04-03T12:44:52.318" v="22142" actId="165"/>
          <ac:spMkLst>
            <pc:docMk/>
            <pc:sldMk cId="390523467" sldId="2145706663"/>
            <ac:spMk id="38" creationId="{5C3E9F6F-F3FA-4E61-BD97-9A24F8205556}"/>
          </ac:spMkLst>
        </pc:spChg>
        <pc:spChg chg="add del">
          <ac:chgData name="Daniel Barnes" userId="b303a15ee67145ed" providerId="LiveId" clId="{4A5A1811-DFF2-43F5-A7A7-22A66EF04CEB}" dt="2022-03-13T22:21:19.816" v="3940" actId="22"/>
          <ac:spMkLst>
            <pc:docMk/>
            <pc:sldMk cId="390523467" sldId="2145706663"/>
            <ac:spMk id="39" creationId="{021D56DA-8D7E-40B5-9E89-1043759A942F}"/>
          </ac:spMkLst>
        </pc:spChg>
        <pc:spChg chg="add mod">
          <ac:chgData name="Daniel Barnes" userId="b303a15ee67145ed" providerId="LiveId" clId="{4A5A1811-DFF2-43F5-A7A7-22A66EF04CEB}" dt="2022-03-13T22:22:35.005" v="3963" actId="1036"/>
          <ac:spMkLst>
            <pc:docMk/>
            <pc:sldMk cId="390523467" sldId="2145706663"/>
            <ac:spMk id="40" creationId="{D829FF44-11A7-4AC8-842C-90953009D05A}"/>
          </ac:spMkLst>
        </pc:spChg>
        <pc:grpChg chg="add del mod">
          <ac:chgData name="Daniel Barnes" userId="b303a15ee67145ed" providerId="LiveId" clId="{4A5A1811-DFF2-43F5-A7A7-22A66EF04CEB}" dt="2022-04-03T12:44:52.318" v="22142" actId="165"/>
          <ac:grpSpMkLst>
            <pc:docMk/>
            <pc:sldMk cId="390523467" sldId="2145706663"/>
            <ac:grpSpMk id="7" creationId="{F489987B-2DB5-4306-8652-A991A3303C81}"/>
          </ac:grpSpMkLst>
        </pc:grpChg>
        <pc:grpChg chg="del mod">
          <ac:chgData name="Daniel Barnes" userId="b303a15ee67145ed" providerId="LiveId" clId="{4A5A1811-DFF2-43F5-A7A7-22A66EF04CEB}" dt="2022-03-13T20:30:23.586" v="2297" actId="165"/>
          <ac:grpSpMkLst>
            <pc:docMk/>
            <pc:sldMk cId="390523467" sldId="2145706663"/>
            <ac:grpSpMk id="18" creationId="{7E3AF57D-BCCD-42A3-A12B-13AF90E6A84F}"/>
          </ac:grpSpMkLst>
        </pc:grpChg>
        <pc:grpChg chg="add del mod">
          <ac:chgData name="Daniel Barnes" userId="b303a15ee67145ed" providerId="LiveId" clId="{4A5A1811-DFF2-43F5-A7A7-22A66EF04CEB}" dt="2022-03-13T22:11:34.925" v="3680" actId="165"/>
          <ac:grpSpMkLst>
            <pc:docMk/>
            <pc:sldMk cId="390523467" sldId="2145706663"/>
            <ac:grpSpMk id="23" creationId="{43503E6A-4D1E-470B-81D0-4843B4EA8321}"/>
          </ac:grpSpMkLst>
        </pc:grpChg>
        <pc:grpChg chg="del mod topLvl">
          <ac:chgData name="Daniel Barnes" userId="b303a15ee67145ed" providerId="LiveId" clId="{4A5A1811-DFF2-43F5-A7A7-22A66EF04CEB}" dt="2022-03-13T22:15:57.509" v="3880" actId="478"/>
          <ac:grpSpMkLst>
            <pc:docMk/>
            <pc:sldMk cId="390523467" sldId="2145706663"/>
            <ac:grpSpMk id="24" creationId="{BF6FDEE3-DC45-40DA-9CFD-92F72DF26F1B}"/>
          </ac:grpSpMkLst>
        </pc:grpChg>
        <pc:grpChg chg="del mod topLvl">
          <ac:chgData name="Daniel Barnes" userId="b303a15ee67145ed" providerId="LiveId" clId="{4A5A1811-DFF2-43F5-A7A7-22A66EF04CEB}" dt="2022-03-13T22:15:57.509" v="3880" actId="478"/>
          <ac:grpSpMkLst>
            <pc:docMk/>
            <pc:sldMk cId="390523467" sldId="2145706663"/>
            <ac:grpSpMk id="25" creationId="{A743F824-069F-420C-B2D7-AA38763F97F4}"/>
          </ac:grpSpMkLst>
        </pc:grpChg>
        <pc:grpChg chg="del mod topLvl">
          <ac:chgData name="Daniel Barnes" userId="b303a15ee67145ed" providerId="LiveId" clId="{4A5A1811-DFF2-43F5-A7A7-22A66EF04CEB}" dt="2022-03-13T22:15:57.509" v="3880" actId="478"/>
          <ac:grpSpMkLst>
            <pc:docMk/>
            <pc:sldMk cId="390523467" sldId="2145706663"/>
            <ac:grpSpMk id="26" creationId="{85E36AB5-7277-42ED-8AFC-E2FEBF0FA1DA}"/>
          </ac:grpSpMkLst>
        </pc:grpChg>
        <pc:grpChg chg="del mod">
          <ac:chgData name="Daniel Barnes" userId="b303a15ee67145ed" providerId="LiveId" clId="{4A5A1811-DFF2-43F5-A7A7-22A66EF04CEB}" dt="2022-03-13T22:09:35.407" v="3642" actId="478"/>
          <ac:grpSpMkLst>
            <pc:docMk/>
            <pc:sldMk cId="390523467" sldId="2145706663"/>
            <ac:grpSpMk id="27" creationId="{DA5834CA-D884-49F1-A6F2-B87EAC494434}"/>
          </ac:grpSpMkLst>
        </pc:grpChg>
        <pc:picChg chg="mod topLvl">
          <ac:chgData name="Daniel Barnes" userId="b303a15ee67145ed" providerId="LiveId" clId="{4A5A1811-DFF2-43F5-A7A7-22A66EF04CEB}" dt="2022-04-03T12:51:13.719" v="22214" actId="208"/>
          <ac:picMkLst>
            <pc:docMk/>
            <pc:sldMk cId="390523467" sldId="2145706663"/>
            <ac:picMk id="5" creationId="{93C5F980-31E5-4580-9422-C5A526F73EC4}"/>
          </ac:picMkLst>
        </pc:picChg>
        <pc:picChg chg="mod">
          <ac:chgData name="Daniel Barnes" userId="b303a15ee67145ed" providerId="LiveId" clId="{4A5A1811-DFF2-43F5-A7A7-22A66EF04CEB}" dt="2022-04-03T12:44:04.428" v="22139" actId="108"/>
          <ac:picMkLst>
            <pc:docMk/>
            <pc:sldMk cId="390523467" sldId="2145706663"/>
            <ac:picMk id="6" creationId="{A6EACE13-983B-4AA9-AF1D-0A7DDB3CF7DE}"/>
          </ac:picMkLst>
        </pc:picChg>
        <pc:picChg chg="mod topLvl">
          <ac:chgData name="Daniel Barnes" userId="b303a15ee67145ed" providerId="LiveId" clId="{4A5A1811-DFF2-43F5-A7A7-22A66EF04CEB}" dt="2022-04-03T12:51:17.437" v="22215" actId="208"/>
          <ac:picMkLst>
            <pc:docMk/>
            <pc:sldMk cId="390523467" sldId="2145706663"/>
            <ac:picMk id="11" creationId="{E6D63F86-D0FD-4554-B688-B52D6F26C5F5}"/>
          </ac:picMkLst>
        </pc:picChg>
        <pc:picChg chg="mod topLvl">
          <ac:chgData name="Daniel Barnes" userId="b303a15ee67145ed" providerId="LiveId" clId="{4A5A1811-DFF2-43F5-A7A7-22A66EF04CEB}" dt="2022-04-03T12:51:17.437" v="22215" actId="208"/>
          <ac:picMkLst>
            <pc:docMk/>
            <pc:sldMk cId="390523467" sldId="2145706663"/>
            <ac:picMk id="13" creationId="{B7FA7808-D5FF-4F87-9A51-4A6DD912A9E0}"/>
          </ac:picMkLst>
        </pc:picChg>
        <pc:picChg chg="del">
          <ac:chgData name="Daniel Barnes" userId="b303a15ee67145ed" providerId="LiveId" clId="{4A5A1811-DFF2-43F5-A7A7-22A66EF04CEB}" dt="2022-03-13T20:30:18.621" v="2294" actId="478"/>
          <ac:picMkLst>
            <pc:docMk/>
            <pc:sldMk cId="390523467" sldId="2145706663"/>
            <ac:picMk id="15" creationId="{C3830511-C957-4952-AB09-8E969DBA71E1}"/>
          </ac:picMkLst>
        </pc:picChg>
        <pc:picChg chg="del mod">
          <ac:chgData name="Daniel Barnes" userId="b303a15ee67145ed" providerId="LiveId" clId="{4A5A1811-DFF2-43F5-A7A7-22A66EF04CEB}" dt="2022-03-13T20:30:18.251" v="2293" actId="478"/>
          <ac:picMkLst>
            <pc:docMk/>
            <pc:sldMk cId="390523467" sldId="2145706663"/>
            <ac:picMk id="17" creationId="{1AD7F3D1-90B6-4134-8857-3B06F3ACD75B}"/>
          </ac:picMkLst>
        </pc:picChg>
        <pc:picChg chg="del">
          <ac:chgData name="Daniel Barnes" userId="b303a15ee67145ed" providerId="LiveId" clId="{4A5A1811-DFF2-43F5-A7A7-22A66EF04CEB}" dt="2022-03-13T20:30:19.411" v="2295" actId="478"/>
          <ac:picMkLst>
            <pc:docMk/>
            <pc:sldMk cId="390523467" sldId="2145706663"/>
            <ac:picMk id="20" creationId="{5175496B-53CE-4EE1-83CF-AF3B8527CAE8}"/>
          </ac:picMkLst>
        </pc:picChg>
      </pc:sldChg>
      <pc:sldChg chg="add del">
        <pc:chgData name="Daniel Barnes" userId="b303a15ee67145ed" providerId="LiveId" clId="{4A5A1811-DFF2-43F5-A7A7-22A66EF04CEB}" dt="2022-03-13T21:19:13.098" v="3054" actId="47"/>
        <pc:sldMkLst>
          <pc:docMk/>
          <pc:sldMk cId="2084810653" sldId="2145706664"/>
        </pc:sldMkLst>
      </pc:sldChg>
      <pc:sldChg chg="delSp modSp add del mod">
        <pc:chgData name="Daniel Barnes" userId="b303a15ee67145ed" providerId="LiveId" clId="{4A5A1811-DFF2-43F5-A7A7-22A66EF04CEB}" dt="2022-03-13T20:33:45.666" v="2345" actId="47"/>
        <pc:sldMkLst>
          <pc:docMk/>
          <pc:sldMk cId="2480844226" sldId="2145706664"/>
        </pc:sldMkLst>
        <pc:spChg chg="mod">
          <ac:chgData name="Daniel Barnes" userId="b303a15ee67145ed" providerId="LiveId" clId="{4A5A1811-DFF2-43F5-A7A7-22A66EF04CEB}" dt="2022-03-13T20:33:37.042" v="2343"/>
          <ac:spMkLst>
            <pc:docMk/>
            <pc:sldMk cId="2480844226" sldId="2145706664"/>
            <ac:spMk id="3" creationId="{E6EB4016-53BF-47E2-8C18-4CAA9DE4C1F2}"/>
          </ac:spMkLst>
        </pc:spChg>
        <pc:picChg chg="del">
          <ac:chgData name="Daniel Barnes" userId="b303a15ee67145ed" providerId="LiveId" clId="{4A5A1811-DFF2-43F5-A7A7-22A66EF04CEB}" dt="2022-03-13T20:33:38.421" v="2344" actId="478"/>
          <ac:picMkLst>
            <pc:docMk/>
            <pc:sldMk cId="2480844226" sldId="2145706664"/>
            <ac:picMk id="6" creationId="{A6EACE13-983B-4AA9-AF1D-0A7DDB3CF7DE}"/>
          </ac:picMkLst>
        </pc:picChg>
      </pc:sldChg>
      <pc:sldChg chg="modSp add del mod">
        <pc:chgData name="Daniel Barnes" userId="b303a15ee67145ed" providerId="LiveId" clId="{4A5A1811-DFF2-43F5-A7A7-22A66EF04CEB}" dt="2022-03-13T20:33:11.990" v="2336" actId="47"/>
        <pc:sldMkLst>
          <pc:docMk/>
          <pc:sldMk cId="3000719252" sldId="2145706664"/>
        </pc:sldMkLst>
        <pc:spChg chg="mod">
          <ac:chgData name="Daniel Barnes" userId="b303a15ee67145ed" providerId="LiveId" clId="{4A5A1811-DFF2-43F5-A7A7-22A66EF04CEB}" dt="2022-03-13T20:31:20.958" v="2321" actId="20577"/>
          <ac:spMkLst>
            <pc:docMk/>
            <pc:sldMk cId="3000719252" sldId="2145706664"/>
            <ac:spMk id="3" creationId="{E6EB4016-53BF-47E2-8C18-4CAA9DE4C1F2}"/>
          </ac:spMkLst>
        </pc:spChg>
        <pc:picChg chg="mod">
          <ac:chgData name="Daniel Barnes" userId="b303a15ee67145ed" providerId="LiveId" clId="{4A5A1811-DFF2-43F5-A7A7-22A66EF04CEB}" dt="2022-03-13T20:31:25.541" v="2322" actId="1076"/>
          <ac:picMkLst>
            <pc:docMk/>
            <pc:sldMk cId="3000719252" sldId="2145706664"/>
            <ac:picMk id="6" creationId="{A6EACE13-983B-4AA9-AF1D-0A7DDB3CF7DE}"/>
          </ac:picMkLst>
        </pc:picChg>
      </pc:sldChg>
      <pc:sldChg chg="delSp modSp add mod">
        <pc:chgData name="Daniel Barnes" userId="b303a15ee67145ed" providerId="LiveId" clId="{4A5A1811-DFF2-43F5-A7A7-22A66EF04CEB}" dt="2022-04-03T13:01:31.704" v="22338" actId="14100"/>
        <pc:sldMkLst>
          <pc:docMk/>
          <pc:sldMk cId="2192887166" sldId="2145706665"/>
        </pc:sldMkLst>
        <pc:spChg chg="mod">
          <ac:chgData name="Daniel Barnes" userId="b303a15ee67145ed" providerId="LiveId" clId="{4A5A1811-DFF2-43F5-A7A7-22A66EF04CEB}" dt="2022-03-13T21:02:34.877" v="2914" actId="20577"/>
          <ac:spMkLst>
            <pc:docMk/>
            <pc:sldMk cId="2192887166" sldId="2145706665"/>
            <ac:spMk id="12" creationId="{C21099A1-48BE-40EF-8C62-B563FE680D62}"/>
          </ac:spMkLst>
        </pc:spChg>
        <pc:picChg chg="del">
          <ac:chgData name="Daniel Barnes" userId="b303a15ee67145ed" providerId="LiveId" clId="{4A5A1811-DFF2-43F5-A7A7-22A66EF04CEB}" dt="2022-03-13T21:01:41.979" v="2883" actId="478"/>
          <ac:picMkLst>
            <pc:docMk/>
            <pc:sldMk cId="2192887166" sldId="2145706665"/>
            <ac:picMk id="7" creationId="{5A96DB54-4D55-4150-8DD2-158F32CB9916}"/>
          </ac:picMkLst>
        </pc:picChg>
        <pc:picChg chg="del">
          <ac:chgData name="Daniel Barnes" userId="b303a15ee67145ed" providerId="LiveId" clId="{4A5A1811-DFF2-43F5-A7A7-22A66EF04CEB}" dt="2022-03-13T21:01:42.467" v="2884" actId="478"/>
          <ac:picMkLst>
            <pc:docMk/>
            <pc:sldMk cId="2192887166" sldId="2145706665"/>
            <ac:picMk id="13" creationId="{67AB1F17-A38D-4E7C-AAB2-97CFE9E724F5}"/>
          </ac:picMkLst>
        </pc:picChg>
        <pc:picChg chg="mod">
          <ac:chgData name="Daniel Barnes" userId="b303a15ee67145ed" providerId="LiveId" clId="{4A5A1811-DFF2-43F5-A7A7-22A66EF04CEB}" dt="2022-04-03T13:01:27.686" v="22337" actId="14100"/>
          <ac:picMkLst>
            <pc:docMk/>
            <pc:sldMk cId="2192887166" sldId="2145706665"/>
            <ac:picMk id="14" creationId="{43B9C8A0-8640-47D3-B185-30DC8761039E}"/>
          </ac:picMkLst>
        </pc:picChg>
        <pc:picChg chg="mod">
          <ac:chgData name="Daniel Barnes" userId="b303a15ee67145ed" providerId="LiveId" clId="{4A5A1811-DFF2-43F5-A7A7-22A66EF04CEB}" dt="2022-04-03T13:01:31.704" v="22338" actId="14100"/>
          <ac:picMkLst>
            <pc:docMk/>
            <pc:sldMk cId="2192887166" sldId="2145706665"/>
            <ac:picMk id="16" creationId="{A325448A-C384-4DF2-B9BF-A96687A7C9EF}"/>
          </ac:picMkLst>
        </pc:picChg>
        <pc:picChg chg="mod">
          <ac:chgData name="Daniel Barnes" userId="b303a15ee67145ed" providerId="LiveId" clId="{4A5A1811-DFF2-43F5-A7A7-22A66EF04CEB}" dt="2022-04-03T13:01:02.690" v="22330" actId="208"/>
          <ac:picMkLst>
            <pc:docMk/>
            <pc:sldMk cId="2192887166" sldId="2145706665"/>
            <ac:picMk id="19" creationId="{D7E53016-BAA8-40A7-B983-27AD4344024D}"/>
          </ac:picMkLst>
        </pc:picChg>
      </pc:sldChg>
      <pc:sldChg chg="addSp delSp modSp add mod">
        <pc:chgData name="Daniel Barnes" userId="b303a15ee67145ed" providerId="LiveId" clId="{4A5A1811-DFF2-43F5-A7A7-22A66EF04CEB}" dt="2022-04-03T13:01:22.508" v="22336" actId="14100"/>
        <pc:sldMkLst>
          <pc:docMk/>
          <pc:sldMk cId="1523390239" sldId="2145706666"/>
        </pc:sldMkLst>
        <pc:spChg chg="mod">
          <ac:chgData name="Daniel Barnes" userId="b303a15ee67145ed" providerId="LiveId" clId="{4A5A1811-DFF2-43F5-A7A7-22A66EF04CEB}" dt="2022-03-13T21:18:57.636" v="3052" actId="14100"/>
          <ac:spMkLst>
            <pc:docMk/>
            <pc:sldMk cId="1523390239" sldId="2145706666"/>
            <ac:spMk id="8" creationId="{225F96D5-27AA-4B7D-BE40-8798D1CCEA6F}"/>
          </ac:spMkLst>
        </pc:spChg>
        <pc:picChg chg="add del mod">
          <ac:chgData name="Daniel Barnes" userId="b303a15ee67145ed" providerId="LiveId" clId="{4A5A1811-DFF2-43F5-A7A7-22A66EF04CEB}" dt="2022-03-13T21:17:11.257" v="2984" actId="478"/>
          <ac:picMkLst>
            <pc:docMk/>
            <pc:sldMk cId="1523390239" sldId="2145706666"/>
            <ac:picMk id="4" creationId="{9C5FFD87-EBE2-4D80-B193-E35D44FF2CFF}"/>
          </ac:picMkLst>
        </pc:picChg>
        <pc:picChg chg="del">
          <ac:chgData name="Daniel Barnes" userId="b303a15ee67145ed" providerId="LiveId" clId="{4A5A1811-DFF2-43F5-A7A7-22A66EF04CEB}" dt="2022-03-13T21:17:12.569" v="2985" actId="478"/>
          <ac:picMkLst>
            <pc:docMk/>
            <pc:sldMk cId="1523390239" sldId="2145706666"/>
            <ac:picMk id="5" creationId="{AD6453D6-0146-4E9E-9C98-0BDB3365BCA2}"/>
          </ac:picMkLst>
        </pc:picChg>
        <pc:picChg chg="add mod modCrop">
          <ac:chgData name="Daniel Barnes" userId="b303a15ee67145ed" providerId="LiveId" clId="{4A5A1811-DFF2-43F5-A7A7-22A66EF04CEB}" dt="2022-04-03T13:01:22.508" v="22336" actId="14100"/>
          <ac:picMkLst>
            <pc:docMk/>
            <pc:sldMk cId="1523390239" sldId="2145706666"/>
            <ac:picMk id="6" creationId="{F773C304-83A3-4986-BB7D-679AC41AE32B}"/>
          </ac:picMkLst>
        </pc:picChg>
        <pc:picChg chg="del">
          <ac:chgData name="Daniel Barnes" userId="b303a15ee67145ed" providerId="LiveId" clId="{4A5A1811-DFF2-43F5-A7A7-22A66EF04CEB}" dt="2022-03-13T21:13:15.881" v="2959" actId="478"/>
          <ac:picMkLst>
            <pc:docMk/>
            <pc:sldMk cId="1523390239" sldId="2145706666"/>
            <ac:picMk id="7" creationId="{4B5F953C-0839-4970-9488-ABB66927F2E0}"/>
          </ac:picMkLst>
        </pc:picChg>
        <pc:picChg chg="add mod modCrop">
          <ac:chgData name="Daniel Barnes" userId="b303a15ee67145ed" providerId="LiveId" clId="{4A5A1811-DFF2-43F5-A7A7-22A66EF04CEB}" dt="2022-04-03T13:01:19.725" v="22335" actId="14100"/>
          <ac:picMkLst>
            <pc:docMk/>
            <pc:sldMk cId="1523390239" sldId="2145706666"/>
            <ac:picMk id="10" creationId="{F2AC72B9-BD42-4F36-881C-B985120BAC1D}"/>
          </ac:picMkLst>
        </pc:picChg>
        <pc:picChg chg="del">
          <ac:chgData name="Daniel Barnes" userId="b303a15ee67145ed" providerId="LiveId" clId="{4A5A1811-DFF2-43F5-A7A7-22A66EF04CEB}" dt="2022-03-13T21:12:17.305" v="2948" actId="478"/>
          <ac:picMkLst>
            <pc:docMk/>
            <pc:sldMk cId="1523390239" sldId="2145706666"/>
            <ac:picMk id="11" creationId="{5D54D69A-7319-4A47-8EAF-58E0202689D4}"/>
          </ac:picMkLst>
        </pc:picChg>
        <pc:picChg chg="del">
          <ac:chgData name="Daniel Barnes" userId="b303a15ee67145ed" providerId="LiveId" clId="{4A5A1811-DFF2-43F5-A7A7-22A66EF04CEB}" dt="2022-03-13T21:12:16.706" v="2947" actId="478"/>
          <ac:picMkLst>
            <pc:docMk/>
            <pc:sldMk cId="1523390239" sldId="2145706666"/>
            <ac:picMk id="13" creationId="{1614A4DD-7BA2-4CC4-81C5-04D72C7C2CAF}"/>
          </ac:picMkLst>
        </pc:picChg>
      </pc:sldChg>
      <pc:sldChg chg="add del">
        <pc:chgData name="Daniel Barnes" userId="b303a15ee67145ed" providerId="LiveId" clId="{4A5A1811-DFF2-43F5-A7A7-22A66EF04CEB}" dt="2022-03-13T21:48:32.676" v="3365" actId="47"/>
        <pc:sldMkLst>
          <pc:docMk/>
          <pc:sldMk cId="4142188488" sldId="2145706667"/>
        </pc:sldMkLst>
      </pc:sldChg>
      <pc:sldChg chg="addSp delSp modSp add mod">
        <pc:chgData name="Daniel Barnes" userId="b303a15ee67145ed" providerId="LiveId" clId="{4A5A1811-DFF2-43F5-A7A7-22A66EF04CEB}" dt="2022-04-03T12:59:56" v="22328" actId="1582"/>
        <pc:sldMkLst>
          <pc:docMk/>
          <pc:sldMk cId="2020206238" sldId="2145706668"/>
        </pc:sldMkLst>
        <pc:spChg chg="add del mod">
          <ac:chgData name="Daniel Barnes" userId="b303a15ee67145ed" providerId="LiveId" clId="{4A5A1811-DFF2-43F5-A7A7-22A66EF04CEB}" dt="2022-03-13T21:38:47.536" v="3239" actId="478"/>
          <ac:spMkLst>
            <pc:docMk/>
            <pc:sldMk cId="2020206238" sldId="2145706668"/>
            <ac:spMk id="3" creationId="{3222243B-9CB8-4AC7-B767-69B615E29FE7}"/>
          </ac:spMkLst>
        </pc:spChg>
        <pc:spChg chg="del">
          <ac:chgData name="Daniel Barnes" userId="b303a15ee67145ed" providerId="LiveId" clId="{4A5A1811-DFF2-43F5-A7A7-22A66EF04CEB}" dt="2022-03-13T22:23:45.341" v="3978" actId="478"/>
          <ac:spMkLst>
            <pc:docMk/>
            <pc:sldMk cId="2020206238" sldId="2145706668"/>
            <ac:spMk id="4" creationId="{0A59B4AA-DDE8-4B16-86B5-B1092731D592}"/>
          </ac:spMkLst>
        </pc:spChg>
        <pc:spChg chg="add del mod">
          <ac:chgData name="Daniel Barnes" userId="b303a15ee67145ed" providerId="LiveId" clId="{4A5A1811-DFF2-43F5-A7A7-22A66EF04CEB}" dt="2022-03-13T21:38:47.971" v="3240" actId="478"/>
          <ac:spMkLst>
            <pc:docMk/>
            <pc:sldMk cId="2020206238" sldId="2145706668"/>
            <ac:spMk id="45" creationId="{A1F851B2-98F5-4A67-9458-1AB17A92B6C5}"/>
          </ac:spMkLst>
        </pc:spChg>
        <pc:spChg chg="add del mod">
          <ac:chgData name="Daniel Barnes" userId="b303a15ee67145ed" providerId="LiveId" clId="{4A5A1811-DFF2-43F5-A7A7-22A66EF04CEB}" dt="2022-03-13T21:38:48.488" v="3241" actId="478"/>
          <ac:spMkLst>
            <pc:docMk/>
            <pc:sldMk cId="2020206238" sldId="2145706668"/>
            <ac:spMk id="46" creationId="{CDA20967-5CEA-4F0A-9384-D5696224DFF6}"/>
          </ac:spMkLst>
        </pc:spChg>
        <pc:spChg chg="add del mod">
          <ac:chgData name="Daniel Barnes" userId="b303a15ee67145ed" providerId="LiveId" clId="{4A5A1811-DFF2-43F5-A7A7-22A66EF04CEB}" dt="2022-03-13T21:38:49.112" v="3242" actId="478"/>
          <ac:spMkLst>
            <pc:docMk/>
            <pc:sldMk cId="2020206238" sldId="2145706668"/>
            <ac:spMk id="47" creationId="{F6EF15FB-D07A-4A9A-868C-35542AECFAA3}"/>
          </ac:spMkLst>
        </pc:spChg>
        <pc:spChg chg="mod">
          <ac:chgData name="Daniel Barnes" userId="b303a15ee67145ed" providerId="LiveId" clId="{4A5A1811-DFF2-43F5-A7A7-22A66EF04CEB}" dt="2022-03-13T21:38:55.961" v="3243" actId="571"/>
          <ac:spMkLst>
            <pc:docMk/>
            <pc:sldMk cId="2020206238" sldId="2145706668"/>
            <ac:spMk id="49" creationId="{348FC604-8C3D-4616-95EF-3203914585E9}"/>
          </ac:spMkLst>
        </pc:spChg>
        <pc:spChg chg="mod">
          <ac:chgData name="Daniel Barnes" userId="b303a15ee67145ed" providerId="LiveId" clId="{4A5A1811-DFF2-43F5-A7A7-22A66EF04CEB}" dt="2022-03-13T21:38:55.961" v="3243" actId="571"/>
          <ac:spMkLst>
            <pc:docMk/>
            <pc:sldMk cId="2020206238" sldId="2145706668"/>
            <ac:spMk id="50" creationId="{58965565-6E39-4D45-B838-1ECC082CAF90}"/>
          </ac:spMkLst>
        </pc:spChg>
        <pc:spChg chg="mod">
          <ac:chgData name="Daniel Barnes" userId="b303a15ee67145ed" providerId="LiveId" clId="{4A5A1811-DFF2-43F5-A7A7-22A66EF04CEB}" dt="2022-03-13T21:38:55.961" v="3243" actId="571"/>
          <ac:spMkLst>
            <pc:docMk/>
            <pc:sldMk cId="2020206238" sldId="2145706668"/>
            <ac:spMk id="52" creationId="{54964CCB-5F31-44B8-9FD8-92709E6E4444}"/>
          </ac:spMkLst>
        </pc:spChg>
        <pc:spChg chg="mod">
          <ac:chgData name="Daniel Barnes" userId="b303a15ee67145ed" providerId="LiveId" clId="{4A5A1811-DFF2-43F5-A7A7-22A66EF04CEB}" dt="2022-03-13T21:38:55.961" v="3243" actId="571"/>
          <ac:spMkLst>
            <pc:docMk/>
            <pc:sldMk cId="2020206238" sldId="2145706668"/>
            <ac:spMk id="53" creationId="{CBA7A896-5CE5-441B-8BBF-6ED54F7AB1F5}"/>
          </ac:spMkLst>
        </pc:spChg>
        <pc:spChg chg="mod">
          <ac:chgData name="Daniel Barnes" userId="b303a15ee67145ed" providerId="LiveId" clId="{4A5A1811-DFF2-43F5-A7A7-22A66EF04CEB}" dt="2022-03-13T21:38:55.961" v="3243" actId="571"/>
          <ac:spMkLst>
            <pc:docMk/>
            <pc:sldMk cId="2020206238" sldId="2145706668"/>
            <ac:spMk id="55" creationId="{E5EA6EAC-B042-45AB-95D5-3459D839E8C4}"/>
          </ac:spMkLst>
        </pc:spChg>
        <pc:spChg chg="mod">
          <ac:chgData name="Daniel Barnes" userId="b303a15ee67145ed" providerId="LiveId" clId="{4A5A1811-DFF2-43F5-A7A7-22A66EF04CEB}" dt="2022-03-13T21:38:55.961" v="3243" actId="571"/>
          <ac:spMkLst>
            <pc:docMk/>
            <pc:sldMk cId="2020206238" sldId="2145706668"/>
            <ac:spMk id="56" creationId="{E833D2F4-8C2B-41CE-909E-178131A2E9F9}"/>
          </ac:spMkLst>
        </pc:spChg>
        <pc:spChg chg="mod">
          <ac:chgData name="Daniel Barnes" userId="b303a15ee67145ed" providerId="LiveId" clId="{4A5A1811-DFF2-43F5-A7A7-22A66EF04CEB}" dt="2022-03-13T21:38:55.961" v="3243" actId="571"/>
          <ac:spMkLst>
            <pc:docMk/>
            <pc:sldMk cId="2020206238" sldId="2145706668"/>
            <ac:spMk id="58" creationId="{32F23D4D-BEE3-44D0-8A28-3CCD10F60D27}"/>
          </ac:spMkLst>
        </pc:spChg>
        <pc:spChg chg="mod">
          <ac:chgData name="Daniel Barnes" userId="b303a15ee67145ed" providerId="LiveId" clId="{4A5A1811-DFF2-43F5-A7A7-22A66EF04CEB}" dt="2022-03-13T21:38:55.961" v="3243" actId="571"/>
          <ac:spMkLst>
            <pc:docMk/>
            <pc:sldMk cId="2020206238" sldId="2145706668"/>
            <ac:spMk id="59" creationId="{F85A1FB2-DDC9-43C5-A8F6-3D02A3C5F736}"/>
          </ac:spMkLst>
        </pc:spChg>
        <pc:spChg chg="add del mod">
          <ac:chgData name="Daniel Barnes" userId="b303a15ee67145ed" providerId="LiveId" clId="{4A5A1811-DFF2-43F5-A7A7-22A66EF04CEB}" dt="2022-03-13T21:39:50.808" v="3255" actId="478"/>
          <ac:spMkLst>
            <pc:docMk/>
            <pc:sldMk cId="2020206238" sldId="2145706668"/>
            <ac:spMk id="60" creationId="{CD5107D0-C6F1-48FC-8676-4AF779596535}"/>
          </ac:spMkLst>
        </pc:spChg>
        <pc:spChg chg="add del mod">
          <ac:chgData name="Daniel Barnes" userId="b303a15ee67145ed" providerId="LiveId" clId="{4A5A1811-DFF2-43F5-A7A7-22A66EF04CEB}" dt="2022-03-13T21:39:50.400" v="3254" actId="478"/>
          <ac:spMkLst>
            <pc:docMk/>
            <pc:sldMk cId="2020206238" sldId="2145706668"/>
            <ac:spMk id="61" creationId="{BFD9F1BA-D4FC-4369-AB3C-3D69B923103A}"/>
          </ac:spMkLst>
        </pc:spChg>
        <pc:spChg chg="add mod">
          <ac:chgData name="Daniel Barnes" userId="b303a15ee67145ed" providerId="LiveId" clId="{4A5A1811-DFF2-43F5-A7A7-22A66EF04CEB}" dt="2022-03-13T21:41:59.091" v="3277"/>
          <ac:spMkLst>
            <pc:docMk/>
            <pc:sldMk cId="2020206238" sldId="2145706668"/>
            <ac:spMk id="63" creationId="{E2231560-61DE-4271-9A77-24A34B1B220C}"/>
          </ac:spMkLst>
        </pc:spChg>
        <pc:spChg chg="add mod">
          <ac:chgData name="Daniel Barnes" userId="b303a15ee67145ed" providerId="LiveId" clId="{4A5A1811-DFF2-43F5-A7A7-22A66EF04CEB}" dt="2022-03-13T21:45:36.372" v="3322" actId="164"/>
          <ac:spMkLst>
            <pc:docMk/>
            <pc:sldMk cId="2020206238" sldId="2145706668"/>
            <ac:spMk id="64" creationId="{65A5E703-357F-4EF5-B517-4985A9130901}"/>
          </ac:spMkLst>
        </pc:spChg>
        <pc:spChg chg="add mod">
          <ac:chgData name="Daniel Barnes" userId="b303a15ee67145ed" providerId="LiveId" clId="{4A5A1811-DFF2-43F5-A7A7-22A66EF04CEB}" dt="2022-03-13T21:58:12.048" v="3477" actId="404"/>
          <ac:spMkLst>
            <pc:docMk/>
            <pc:sldMk cId="2020206238" sldId="2145706668"/>
            <ac:spMk id="65" creationId="{FD57F5A6-0768-4894-BEB3-23DC34CCF171}"/>
          </ac:spMkLst>
        </pc:spChg>
        <pc:spChg chg="add del mod">
          <ac:chgData name="Daniel Barnes" userId="b303a15ee67145ed" providerId="LiveId" clId="{4A5A1811-DFF2-43F5-A7A7-22A66EF04CEB}" dt="2022-03-13T21:45:28.913" v="3321" actId="478"/>
          <ac:spMkLst>
            <pc:docMk/>
            <pc:sldMk cId="2020206238" sldId="2145706668"/>
            <ac:spMk id="66" creationId="{C83E0D1A-58CA-4B86-A571-86721B627B24}"/>
          </ac:spMkLst>
        </pc:spChg>
        <pc:spChg chg="add del mod">
          <ac:chgData name="Daniel Barnes" userId="b303a15ee67145ed" providerId="LiveId" clId="{4A5A1811-DFF2-43F5-A7A7-22A66EF04CEB}" dt="2022-03-13T21:45:28.913" v="3321" actId="478"/>
          <ac:spMkLst>
            <pc:docMk/>
            <pc:sldMk cId="2020206238" sldId="2145706668"/>
            <ac:spMk id="67" creationId="{62981E48-1F29-4779-B4C0-27E6B3C455AC}"/>
          </ac:spMkLst>
        </pc:spChg>
        <pc:spChg chg="add del mod">
          <ac:chgData name="Daniel Barnes" userId="b303a15ee67145ed" providerId="LiveId" clId="{4A5A1811-DFF2-43F5-A7A7-22A66EF04CEB}" dt="2022-03-13T21:45:28.913" v="3321" actId="478"/>
          <ac:spMkLst>
            <pc:docMk/>
            <pc:sldMk cId="2020206238" sldId="2145706668"/>
            <ac:spMk id="68" creationId="{1290B3E7-0F25-47BD-8949-E3E2D8FB5144}"/>
          </ac:spMkLst>
        </pc:spChg>
        <pc:spChg chg="add del mod">
          <ac:chgData name="Daniel Barnes" userId="b303a15ee67145ed" providerId="LiveId" clId="{4A5A1811-DFF2-43F5-A7A7-22A66EF04CEB}" dt="2022-03-13T21:45:28.913" v="3321" actId="478"/>
          <ac:spMkLst>
            <pc:docMk/>
            <pc:sldMk cId="2020206238" sldId="2145706668"/>
            <ac:spMk id="69" creationId="{2A7673DC-212A-4103-8EDE-79E908D679B6}"/>
          </ac:spMkLst>
        </pc:spChg>
        <pc:spChg chg="mod">
          <ac:chgData name="Daniel Barnes" userId="b303a15ee67145ed" providerId="LiveId" clId="{4A5A1811-DFF2-43F5-A7A7-22A66EF04CEB}" dt="2022-03-13T21:48:04.985" v="3364" actId="207"/>
          <ac:spMkLst>
            <pc:docMk/>
            <pc:sldMk cId="2020206238" sldId="2145706668"/>
            <ac:spMk id="72" creationId="{DC1BC811-1AB8-44D5-AE89-6B3B0BEE0976}"/>
          </ac:spMkLst>
        </pc:spChg>
        <pc:spChg chg="mod">
          <ac:chgData name="Daniel Barnes" userId="b303a15ee67145ed" providerId="LiveId" clId="{4A5A1811-DFF2-43F5-A7A7-22A66EF04CEB}" dt="2022-03-13T21:58:16.610" v="3479" actId="404"/>
          <ac:spMkLst>
            <pc:docMk/>
            <pc:sldMk cId="2020206238" sldId="2145706668"/>
            <ac:spMk id="73" creationId="{36B7E9F0-44CA-4F36-ADA8-156F71E52419}"/>
          </ac:spMkLst>
        </pc:spChg>
        <pc:spChg chg="mod">
          <ac:chgData name="Daniel Barnes" userId="b303a15ee67145ed" providerId="LiveId" clId="{4A5A1811-DFF2-43F5-A7A7-22A66EF04CEB}" dt="2022-03-13T21:47:15.071" v="3347" actId="14100"/>
          <ac:spMkLst>
            <pc:docMk/>
            <pc:sldMk cId="2020206238" sldId="2145706668"/>
            <ac:spMk id="75" creationId="{1C6252E2-606D-4907-8C99-DEA8C3F3654C}"/>
          </ac:spMkLst>
        </pc:spChg>
        <pc:spChg chg="mod">
          <ac:chgData name="Daniel Barnes" userId="b303a15ee67145ed" providerId="LiveId" clId="{4A5A1811-DFF2-43F5-A7A7-22A66EF04CEB}" dt="2022-03-13T21:58:19.434" v="3481" actId="404"/>
          <ac:spMkLst>
            <pc:docMk/>
            <pc:sldMk cId="2020206238" sldId="2145706668"/>
            <ac:spMk id="76" creationId="{733A18F6-5932-4DE6-B681-CE6A21D572FA}"/>
          </ac:spMkLst>
        </pc:spChg>
        <pc:spChg chg="mod">
          <ac:chgData name="Daniel Barnes" userId="b303a15ee67145ed" providerId="LiveId" clId="{4A5A1811-DFF2-43F5-A7A7-22A66EF04CEB}" dt="2022-03-13T21:47:05.200" v="3344" actId="14100"/>
          <ac:spMkLst>
            <pc:docMk/>
            <pc:sldMk cId="2020206238" sldId="2145706668"/>
            <ac:spMk id="78" creationId="{BD331684-A308-4CCB-8AE8-62715ED400F4}"/>
          </ac:spMkLst>
        </pc:spChg>
        <pc:spChg chg="mod">
          <ac:chgData name="Daniel Barnes" userId="b303a15ee67145ed" providerId="LiveId" clId="{4A5A1811-DFF2-43F5-A7A7-22A66EF04CEB}" dt="2022-03-13T21:58:22.094" v="3483" actId="404"/>
          <ac:spMkLst>
            <pc:docMk/>
            <pc:sldMk cId="2020206238" sldId="2145706668"/>
            <ac:spMk id="79" creationId="{5BE57BA1-DE81-4A82-9DE8-7E7F7A170213}"/>
          </ac:spMkLst>
        </pc:spChg>
        <pc:spChg chg="add mod">
          <ac:chgData name="Daniel Barnes" userId="b303a15ee67145ed" providerId="LiveId" clId="{4A5A1811-DFF2-43F5-A7A7-22A66EF04CEB}" dt="2022-03-13T22:23:35.044" v="3977"/>
          <ac:spMkLst>
            <pc:docMk/>
            <pc:sldMk cId="2020206238" sldId="2145706668"/>
            <ac:spMk id="81" creationId="{BD94C877-BB54-423D-BFB8-3013BA1E88AE}"/>
          </ac:spMkLst>
        </pc:spChg>
        <pc:spChg chg="mod">
          <ac:chgData name="Daniel Barnes" userId="b303a15ee67145ed" providerId="LiveId" clId="{4A5A1811-DFF2-43F5-A7A7-22A66EF04CEB}" dt="2022-04-03T12:59:42.942" v="22326" actId="1582"/>
          <ac:spMkLst>
            <pc:docMk/>
            <pc:sldMk cId="2020206238" sldId="2145706668"/>
            <ac:spMk id="89" creationId="{7F77E3BE-FFD1-49D0-912B-FD6FB1D4A716}"/>
          </ac:spMkLst>
        </pc:spChg>
        <pc:spChg chg="mod">
          <ac:chgData name="Daniel Barnes" userId="b303a15ee67145ed" providerId="LiveId" clId="{4A5A1811-DFF2-43F5-A7A7-22A66EF04CEB}" dt="2022-04-03T12:59:37.407" v="22325" actId="1582"/>
          <ac:spMkLst>
            <pc:docMk/>
            <pc:sldMk cId="2020206238" sldId="2145706668"/>
            <ac:spMk id="93" creationId="{5887B57B-681F-4AFC-A510-8BB5A325AEEC}"/>
          </ac:spMkLst>
        </pc:spChg>
        <pc:spChg chg="mod">
          <ac:chgData name="Daniel Barnes" userId="b303a15ee67145ed" providerId="LiveId" clId="{4A5A1811-DFF2-43F5-A7A7-22A66EF04CEB}" dt="2022-04-03T12:59:50.097" v="22327" actId="1582"/>
          <ac:spMkLst>
            <pc:docMk/>
            <pc:sldMk cId="2020206238" sldId="2145706668"/>
            <ac:spMk id="94" creationId="{12364969-3AD7-48C4-8FC6-EC50B8447038}"/>
          </ac:spMkLst>
        </pc:spChg>
        <pc:spChg chg="mod">
          <ac:chgData name="Daniel Barnes" userId="b303a15ee67145ed" providerId="LiveId" clId="{4A5A1811-DFF2-43F5-A7A7-22A66EF04CEB}" dt="2022-04-03T12:59:56" v="22328" actId="1582"/>
          <ac:spMkLst>
            <pc:docMk/>
            <pc:sldMk cId="2020206238" sldId="2145706668"/>
            <ac:spMk id="97" creationId="{2A81A195-2676-44C4-896D-689E59A38CEC}"/>
          </ac:spMkLst>
        </pc:spChg>
        <pc:spChg chg="mod">
          <ac:chgData name="Daniel Barnes" userId="b303a15ee67145ed" providerId="LiveId" clId="{4A5A1811-DFF2-43F5-A7A7-22A66EF04CEB}" dt="2022-03-13T21:58:04.732" v="3475" actId="404"/>
          <ac:spMkLst>
            <pc:docMk/>
            <pc:sldMk cId="2020206238" sldId="2145706668"/>
            <ac:spMk id="98" creationId="{E7156280-6B7B-4263-AB17-22F35BB5C7C3}"/>
          </ac:spMkLst>
        </pc:spChg>
        <pc:spChg chg="mod">
          <ac:chgData name="Daniel Barnes" userId="b303a15ee67145ed" providerId="LiveId" clId="{4A5A1811-DFF2-43F5-A7A7-22A66EF04CEB}" dt="2022-03-13T21:58:04.732" v="3475" actId="404"/>
          <ac:spMkLst>
            <pc:docMk/>
            <pc:sldMk cId="2020206238" sldId="2145706668"/>
            <ac:spMk id="99" creationId="{1CC2D145-0795-41DD-8639-5A50A568CAFD}"/>
          </ac:spMkLst>
        </pc:spChg>
        <pc:spChg chg="mod">
          <ac:chgData name="Daniel Barnes" userId="b303a15ee67145ed" providerId="LiveId" clId="{4A5A1811-DFF2-43F5-A7A7-22A66EF04CEB}" dt="2022-03-13T21:58:37.659" v="3487" actId="14100"/>
          <ac:spMkLst>
            <pc:docMk/>
            <pc:sldMk cId="2020206238" sldId="2145706668"/>
            <ac:spMk id="105" creationId="{AF5F8729-7120-4FC0-A214-0E201FF45A95}"/>
          </ac:spMkLst>
        </pc:spChg>
        <pc:spChg chg="mod">
          <ac:chgData name="Daniel Barnes" userId="b303a15ee67145ed" providerId="LiveId" clId="{4A5A1811-DFF2-43F5-A7A7-22A66EF04CEB}" dt="2022-03-13T21:58:04.732" v="3475" actId="404"/>
          <ac:spMkLst>
            <pc:docMk/>
            <pc:sldMk cId="2020206238" sldId="2145706668"/>
            <ac:spMk id="106" creationId="{64B7EFC1-B1A7-4EAA-A519-F90F8E046CAD}"/>
          </ac:spMkLst>
        </pc:spChg>
        <pc:grpChg chg="add mod">
          <ac:chgData name="Daniel Barnes" userId="b303a15ee67145ed" providerId="LiveId" clId="{4A5A1811-DFF2-43F5-A7A7-22A66EF04CEB}" dt="2022-03-13T22:05:30.445" v="3587" actId="164"/>
          <ac:grpSpMkLst>
            <pc:docMk/>
            <pc:sldMk cId="2020206238" sldId="2145706668"/>
            <ac:grpSpMk id="7" creationId="{F21FFF33-65B6-4126-B55E-508CDD5D8B69}"/>
          </ac:grpSpMkLst>
        </pc:grpChg>
        <pc:grpChg chg="add mod">
          <ac:chgData name="Daniel Barnes" userId="b303a15ee67145ed" providerId="LiveId" clId="{4A5A1811-DFF2-43F5-A7A7-22A66EF04CEB}" dt="2022-03-13T22:05:30.445" v="3587" actId="164"/>
          <ac:grpSpMkLst>
            <pc:docMk/>
            <pc:sldMk cId="2020206238" sldId="2145706668"/>
            <ac:grpSpMk id="9" creationId="{CC31E096-CF07-4BAD-9BB4-326F2C912DFC}"/>
          </ac:grpSpMkLst>
        </pc:grpChg>
        <pc:grpChg chg="mod">
          <ac:chgData name="Daniel Barnes" userId="b303a15ee67145ed" providerId="LiveId" clId="{4A5A1811-DFF2-43F5-A7A7-22A66EF04CEB}" dt="2022-03-13T21:41:59.091" v="3277"/>
          <ac:grpSpMkLst>
            <pc:docMk/>
            <pc:sldMk cId="2020206238" sldId="2145706668"/>
            <ac:grpSpMk id="28" creationId="{F7D9EF03-0D98-4A64-B0CA-E0D795AFB3A9}"/>
          </ac:grpSpMkLst>
        </pc:grpChg>
        <pc:grpChg chg="mod">
          <ac:chgData name="Daniel Barnes" userId="b303a15ee67145ed" providerId="LiveId" clId="{4A5A1811-DFF2-43F5-A7A7-22A66EF04CEB}" dt="2022-03-13T21:41:59.091" v="3277"/>
          <ac:grpSpMkLst>
            <pc:docMk/>
            <pc:sldMk cId="2020206238" sldId="2145706668"/>
            <ac:grpSpMk id="35" creationId="{92EA4B77-B14B-4AED-97DA-838569B509F9}"/>
          </ac:grpSpMkLst>
        </pc:grpChg>
        <pc:grpChg chg="add del mod">
          <ac:chgData name="Daniel Barnes" userId="b303a15ee67145ed" providerId="LiveId" clId="{4A5A1811-DFF2-43F5-A7A7-22A66EF04CEB}" dt="2022-03-13T21:47:49.507" v="3362" actId="478"/>
          <ac:grpSpMkLst>
            <pc:docMk/>
            <pc:sldMk cId="2020206238" sldId="2145706668"/>
            <ac:grpSpMk id="48" creationId="{ED0BE77C-5D8E-4362-8FD3-61A95B9C7D16}"/>
          </ac:grpSpMkLst>
        </pc:grpChg>
        <pc:grpChg chg="add del mod">
          <ac:chgData name="Daniel Barnes" userId="b303a15ee67145ed" providerId="LiveId" clId="{4A5A1811-DFF2-43F5-A7A7-22A66EF04CEB}" dt="2022-03-13T21:47:49.507" v="3362" actId="478"/>
          <ac:grpSpMkLst>
            <pc:docMk/>
            <pc:sldMk cId="2020206238" sldId="2145706668"/>
            <ac:grpSpMk id="51" creationId="{E502F57B-1B21-4FCD-98D7-652DE5E0375A}"/>
          </ac:grpSpMkLst>
        </pc:grpChg>
        <pc:grpChg chg="add del mod">
          <ac:chgData name="Daniel Barnes" userId="b303a15ee67145ed" providerId="LiveId" clId="{4A5A1811-DFF2-43F5-A7A7-22A66EF04CEB}" dt="2022-03-13T21:47:49.507" v="3362" actId="478"/>
          <ac:grpSpMkLst>
            <pc:docMk/>
            <pc:sldMk cId="2020206238" sldId="2145706668"/>
            <ac:grpSpMk id="54" creationId="{F253C404-DD0F-4D0C-B461-98503A76B542}"/>
          </ac:grpSpMkLst>
        </pc:grpChg>
        <pc:grpChg chg="add del mod">
          <ac:chgData name="Daniel Barnes" userId="b303a15ee67145ed" providerId="LiveId" clId="{4A5A1811-DFF2-43F5-A7A7-22A66EF04CEB}" dt="2022-03-13T21:47:49.507" v="3362" actId="478"/>
          <ac:grpSpMkLst>
            <pc:docMk/>
            <pc:sldMk cId="2020206238" sldId="2145706668"/>
            <ac:grpSpMk id="57" creationId="{D0AA02AB-280E-4DEE-A0E9-FDC4CB37E5BC}"/>
          </ac:grpSpMkLst>
        </pc:grpChg>
        <pc:grpChg chg="add mod">
          <ac:chgData name="Daniel Barnes" userId="b303a15ee67145ed" providerId="LiveId" clId="{4A5A1811-DFF2-43F5-A7A7-22A66EF04CEB}" dt="2022-03-13T22:05:30.445" v="3587" actId="164"/>
          <ac:grpSpMkLst>
            <pc:docMk/>
            <pc:sldMk cId="2020206238" sldId="2145706668"/>
            <ac:grpSpMk id="71" creationId="{A12783AC-107E-405B-AE46-76495AA5CA2F}"/>
          </ac:grpSpMkLst>
        </pc:grpChg>
        <pc:grpChg chg="add mod">
          <ac:chgData name="Daniel Barnes" userId="b303a15ee67145ed" providerId="LiveId" clId="{4A5A1811-DFF2-43F5-A7A7-22A66EF04CEB}" dt="2022-03-13T22:05:30.445" v="3587" actId="164"/>
          <ac:grpSpMkLst>
            <pc:docMk/>
            <pc:sldMk cId="2020206238" sldId="2145706668"/>
            <ac:grpSpMk id="74" creationId="{4602B558-EDB7-4511-8362-1C6AE3BC95E6}"/>
          </ac:grpSpMkLst>
        </pc:grpChg>
        <pc:grpChg chg="add mod">
          <ac:chgData name="Daniel Barnes" userId="b303a15ee67145ed" providerId="LiveId" clId="{4A5A1811-DFF2-43F5-A7A7-22A66EF04CEB}" dt="2022-03-13T22:05:30.445" v="3587" actId="164"/>
          <ac:grpSpMkLst>
            <pc:docMk/>
            <pc:sldMk cId="2020206238" sldId="2145706668"/>
            <ac:grpSpMk id="77" creationId="{81FA3418-D807-4483-9363-C1DAFE87537B}"/>
          </ac:grpSpMkLst>
        </pc:grpChg>
        <pc:grpChg chg="del">
          <ac:chgData name="Daniel Barnes" userId="b303a15ee67145ed" providerId="LiveId" clId="{4A5A1811-DFF2-43F5-A7A7-22A66EF04CEB}" dt="2022-03-13T21:39:02.496" v="3245" actId="478"/>
          <ac:grpSpMkLst>
            <pc:docMk/>
            <pc:sldMk cId="2020206238" sldId="2145706668"/>
            <ac:grpSpMk id="100" creationId="{4DF58E1A-2B9E-47C6-9193-89E805613548}"/>
          </ac:grpSpMkLst>
        </pc:grpChg>
        <pc:grpChg chg="del">
          <ac:chgData name="Daniel Barnes" userId="b303a15ee67145ed" providerId="LiveId" clId="{4A5A1811-DFF2-43F5-A7A7-22A66EF04CEB}" dt="2022-03-13T21:39:02.496" v="3245" actId="478"/>
          <ac:grpSpMkLst>
            <pc:docMk/>
            <pc:sldMk cId="2020206238" sldId="2145706668"/>
            <ac:grpSpMk id="101" creationId="{BC970FD7-EEAD-46C7-B0ED-7A867795E385}"/>
          </ac:grpSpMkLst>
        </pc:grpChg>
        <pc:grpChg chg="del">
          <ac:chgData name="Daniel Barnes" userId="b303a15ee67145ed" providerId="LiveId" clId="{4A5A1811-DFF2-43F5-A7A7-22A66EF04CEB}" dt="2022-03-13T21:39:02.496" v="3245" actId="478"/>
          <ac:grpSpMkLst>
            <pc:docMk/>
            <pc:sldMk cId="2020206238" sldId="2145706668"/>
            <ac:grpSpMk id="102" creationId="{E8B6C71B-03D7-4A25-A3B5-9CF5A22D2497}"/>
          </ac:grpSpMkLst>
        </pc:grpChg>
        <pc:grpChg chg="del">
          <ac:chgData name="Daniel Barnes" userId="b303a15ee67145ed" providerId="LiveId" clId="{4A5A1811-DFF2-43F5-A7A7-22A66EF04CEB}" dt="2022-03-13T21:39:02.496" v="3245" actId="478"/>
          <ac:grpSpMkLst>
            <pc:docMk/>
            <pc:sldMk cId="2020206238" sldId="2145706668"/>
            <ac:grpSpMk id="103" creationId="{C96CAE8F-8848-4FC4-9FEA-72930EE233F1}"/>
          </ac:grpSpMkLst>
        </pc:grpChg>
        <pc:graphicFrameChg chg="add del mod modGraphic">
          <ac:chgData name="Daniel Barnes" userId="b303a15ee67145ed" providerId="LiveId" clId="{4A5A1811-DFF2-43F5-A7A7-22A66EF04CEB}" dt="2022-03-13T21:41:20.792" v="3273" actId="478"/>
          <ac:graphicFrameMkLst>
            <pc:docMk/>
            <pc:sldMk cId="2020206238" sldId="2145706668"/>
            <ac:graphicFrameMk id="5" creationId="{256F1BD1-3EC6-4E6E-8C5F-8E0CB0A5C9B7}"/>
          </ac:graphicFrameMkLst>
        </pc:graphicFrameChg>
        <pc:picChg chg="mod">
          <ac:chgData name="Daniel Barnes" userId="b303a15ee67145ed" providerId="LiveId" clId="{4A5A1811-DFF2-43F5-A7A7-22A66EF04CEB}" dt="2022-03-13T21:41:59.091" v="3277"/>
          <ac:picMkLst>
            <pc:docMk/>
            <pc:sldMk cId="2020206238" sldId="2145706668"/>
            <ac:picMk id="6" creationId="{0D94EE98-C8BA-4088-9399-E3A6F93524AD}"/>
          </ac:picMkLst>
        </pc:picChg>
        <pc:picChg chg="mod">
          <ac:chgData name="Daniel Barnes" userId="b303a15ee67145ed" providerId="LiveId" clId="{4A5A1811-DFF2-43F5-A7A7-22A66EF04CEB}" dt="2022-03-13T21:41:59.091" v="3277"/>
          <ac:picMkLst>
            <pc:docMk/>
            <pc:sldMk cId="2020206238" sldId="2145706668"/>
            <ac:picMk id="8" creationId="{49F80C29-BD4E-4670-AFF0-F59E30604817}"/>
          </ac:picMkLst>
        </pc:picChg>
        <pc:picChg chg="mod">
          <ac:chgData name="Daniel Barnes" userId="b303a15ee67145ed" providerId="LiveId" clId="{4A5A1811-DFF2-43F5-A7A7-22A66EF04CEB}" dt="2022-04-03T12:59:31.418" v="22324" actId="108"/>
          <ac:picMkLst>
            <pc:docMk/>
            <pc:sldMk cId="2020206238" sldId="2145706668"/>
            <ac:picMk id="10" creationId="{277E6190-5DA5-4D5A-96BA-1CD9654DE556}"/>
          </ac:picMkLst>
        </pc:picChg>
        <pc:picChg chg="mod">
          <ac:chgData name="Daniel Barnes" userId="b303a15ee67145ed" providerId="LiveId" clId="{4A5A1811-DFF2-43F5-A7A7-22A66EF04CEB}" dt="2022-04-03T12:59:31.418" v="22324" actId="108"/>
          <ac:picMkLst>
            <pc:docMk/>
            <pc:sldMk cId="2020206238" sldId="2145706668"/>
            <ac:picMk id="14" creationId="{8F30D176-1F26-4574-A3AE-DF6724CE75E0}"/>
          </ac:picMkLst>
        </pc:picChg>
        <pc:picChg chg="mod">
          <ac:chgData name="Daniel Barnes" userId="b303a15ee67145ed" providerId="LiveId" clId="{4A5A1811-DFF2-43F5-A7A7-22A66EF04CEB}" dt="2022-04-03T12:59:31.418" v="22324" actId="108"/>
          <ac:picMkLst>
            <pc:docMk/>
            <pc:sldMk cId="2020206238" sldId="2145706668"/>
            <ac:picMk id="16" creationId="{C4F55A5F-87B2-4210-A9EC-0FE7EF6DDB81}"/>
          </ac:picMkLst>
        </pc:picChg>
        <pc:picChg chg="mod">
          <ac:chgData name="Daniel Barnes" userId="b303a15ee67145ed" providerId="LiveId" clId="{4A5A1811-DFF2-43F5-A7A7-22A66EF04CEB}" dt="2022-04-03T12:59:31.418" v="22324" actId="108"/>
          <ac:picMkLst>
            <pc:docMk/>
            <pc:sldMk cId="2020206238" sldId="2145706668"/>
            <ac:picMk id="19" creationId="{DA39E6D6-5F71-4F33-B2F9-97EF92422C89}"/>
          </ac:picMkLst>
        </pc:picChg>
        <pc:picChg chg="mod">
          <ac:chgData name="Daniel Barnes" userId="b303a15ee67145ed" providerId="LiveId" clId="{4A5A1811-DFF2-43F5-A7A7-22A66EF04CEB}" dt="2022-03-13T21:41:59.091" v="3277"/>
          <ac:picMkLst>
            <pc:docMk/>
            <pc:sldMk cId="2020206238" sldId="2145706668"/>
            <ac:picMk id="86" creationId="{D5E40F14-C243-45DC-A9AD-C3E089B083A3}"/>
          </ac:picMkLst>
        </pc:picChg>
      </pc:sldChg>
      <pc:sldChg chg="addSp delSp modSp add mod">
        <pc:chgData name="Daniel Barnes" userId="b303a15ee67145ed" providerId="LiveId" clId="{4A5A1811-DFF2-43F5-A7A7-22A66EF04CEB}" dt="2022-04-03T12:59:17.722" v="22322" actId="208"/>
        <pc:sldMkLst>
          <pc:docMk/>
          <pc:sldMk cId="3268956078" sldId="2145706669"/>
        </pc:sldMkLst>
        <pc:spChg chg="mod">
          <ac:chgData name="Daniel Barnes" userId="b303a15ee67145ed" providerId="LiveId" clId="{4A5A1811-DFF2-43F5-A7A7-22A66EF04CEB}" dt="2022-03-13T21:53:34.124" v="3399" actId="207"/>
          <ac:spMkLst>
            <pc:docMk/>
            <pc:sldMk cId="3268956078" sldId="2145706669"/>
            <ac:spMk id="3" creationId="{CE21D9D7-FB8E-43B0-A613-DA6583074AB7}"/>
          </ac:spMkLst>
        </pc:spChg>
        <pc:spChg chg="add mod ord">
          <ac:chgData name="Daniel Barnes" userId="b303a15ee67145ed" providerId="LiveId" clId="{4A5A1811-DFF2-43F5-A7A7-22A66EF04CEB}" dt="2022-04-03T12:56:24.562" v="22295" actId="167"/>
          <ac:spMkLst>
            <pc:docMk/>
            <pc:sldMk cId="3268956078" sldId="2145706669"/>
            <ac:spMk id="6" creationId="{B37705CB-E1C2-4BF4-9E9D-C843ED679950}"/>
          </ac:spMkLst>
        </pc:spChg>
        <pc:spChg chg="del">
          <ac:chgData name="Daniel Barnes" userId="b303a15ee67145ed" providerId="LiveId" clId="{4A5A1811-DFF2-43F5-A7A7-22A66EF04CEB}" dt="2022-03-13T21:53:23.951" v="3396" actId="478"/>
          <ac:spMkLst>
            <pc:docMk/>
            <pc:sldMk cId="3268956078" sldId="2145706669"/>
            <ac:spMk id="30" creationId="{E57CC287-A5A6-4FD2-9FF6-E7530407F198}"/>
          </ac:spMkLst>
        </pc:spChg>
        <pc:spChg chg="del">
          <ac:chgData name="Daniel Barnes" userId="b303a15ee67145ed" providerId="LiveId" clId="{4A5A1811-DFF2-43F5-A7A7-22A66EF04CEB}" dt="2022-03-13T21:53:23.951" v="3396" actId="478"/>
          <ac:spMkLst>
            <pc:docMk/>
            <pc:sldMk cId="3268956078" sldId="2145706669"/>
            <ac:spMk id="31" creationId="{6B02841C-5C37-4F69-8B29-1DC00EABCB3E}"/>
          </ac:spMkLst>
        </pc:spChg>
        <pc:spChg chg="del">
          <ac:chgData name="Daniel Barnes" userId="b303a15ee67145ed" providerId="LiveId" clId="{4A5A1811-DFF2-43F5-A7A7-22A66EF04CEB}" dt="2022-03-13T21:53:23.951" v="3396" actId="478"/>
          <ac:spMkLst>
            <pc:docMk/>
            <pc:sldMk cId="3268956078" sldId="2145706669"/>
            <ac:spMk id="32" creationId="{D57ED92F-5901-44AD-964B-8E903FE5625E}"/>
          </ac:spMkLst>
        </pc:spChg>
        <pc:spChg chg="del">
          <ac:chgData name="Daniel Barnes" userId="b303a15ee67145ed" providerId="LiveId" clId="{4A5A1811-DFF2-43F5-A7A7-22A66EF04CEB}" dt="2022-03-13T21:53:23.951" v="3396" actId="478"/>
          <ac:spMkLst>
            <pc:docMk/>
            <pc:sldMk cId="3268956078" sldId="2145706669"/>
            <ac:spMk id="33" creationId="{00B3CE52-E56F-4D28-A54C-13ED900C2931}"/>
          </ac:spMkLst>
        </pc:spChg>
        <pc:spChg chg="del">
          <ac:chgData name="Daniel Barnes" userId="b303a15ee67145ed" providerId="LiveId" clId="{4A5A1811-DFF2-43F5-A7A7-22A66EF04CEB}" dt="2022-03-13T21:53:23.951" v="3396" actId="478"/>
          <ac:spMkLst>
            <pc:docMk/>
            <pc:sldMk cId="3268956078" sldId="2145706669"/>
            <ac:spMk id="34" creationId="{D85BA101-2491-4CC9-AC3E-1CAAD53F10DF}"/>
          </ac:spMkLst>
        </pc:spChg>
        <pc:spChg chg="mod">
          <ac:chgData name="Daniel Barnes" userId="b303a15ee67145ed" providerId="LiveId" clId="{4A5A1811-DFF2-43F5-A7A7-22A66EF04CEB}" dt="2022-03-13T21:53:34.124" v="3399" actId="207"/>
          <ac:spMkLst>
            <pc:docMk/>
            <pc:sldMk cId="3268956078" sldId="2145706669"/>
            <ac:spMk id="35" creationId="{B33BACFA-1159-4C77-A027-105328CB3C84}"/>
          </ac:spMkLst>
        </pc:spChg>
        <pc:spChg chg="mod">
          <ac:chgData name="Daniel Barnes" userId="b303a15ee67145ed" providerId="LiveId" clId="{4A5A1811-DFF2-43F5-A7A7-22A66EF04CEB}" dt="2022-03-13T21:53:34.124" v="3399" actId="207"/>
          <ac:spMkLst>
            <pc:docMk/>
            <pc:sldMk cId="3268956078" sldId="2145706669"/>
            <ac:spMk id="36" creationId="{E0EAC358-4AA2-486D-B3B5-DA29D5D0A9D1}"/>
          </ac:spMkLst>
        </pc:spChg>
        <pc:spChg chg="mod">
          <ac:chgData name="Daniel Barnes" userId="b303a15ee67145ed" providerId="LiveId" clId="{4A5A1811-DFF2-43F5-A7A7-22A66EF04CEB}" dt="2022-03-13T21:53:34.124" v="3399" actId="207"/>
          <ac:spMkLst>
            <pc:docMk/>
            <pc:sldMk cId="3268956078" sldId="2145706669"/>
            <ac:spMk id="37" creationId="{3D8A8A4F-DC01-4BF6-BD06-B59DEFCAF8E6}"/>
          </ac:spMkLst>
        </pc:spChg>
        <pc:spChg chg="mod">
          <ac:chgData name="Daniel Barnes" userId="b303a15ee67145ed" providerId="LiveId" clId="{4A5A1811-DFF2-43F5-A7A7-22A66EF04CEB}" dt="2022-03-13T21:53:34.124" v="3399" actId="207"/>
          <ac:spMkLst>
            <pc:docMk/>
            <pc:sldMk cId="3268956078" sldId="2145706669"/>
            <ac:spMk id="38" creationId="{469A0A08-857E-439C-8CAF-7AA781886912}"/>
          </ac:spMkLst>
        </pc:spChg>
        <pc:spChg chg="mod">
          <ac:chgData name="Daniel Barnes" userId="b303a15ee67145ed" providerId="LiveId" clId="{4A5A1811-DFF2-43F5-A7A7-22A66EF04CEB}" dt="2022-03-13T21:53:34.124" v="3399" actId="207"/>
          <ac:spMkLst>
            <pc:docMk/>
            <pc:sldMk cId="3268956078" sldId="2145706669"/>
            <ac:spMk id="40" creationId="{E9623D5D-7C80-440A-BF87-6BE0026034B8}"/>
          </ac:spMkLst>
        </pc:spChg>
        <pc:spChg chg="mod">
          <ac:chgData name="Daniel Barnes" userId="b303a15ee67145ed" providerId="LiveId" clId="{4A5A1811-DFF2-43F5-A7A7-22A66EF04CEB}" dt="2022-03-13T21:53:34.124" v="3399" actId="207"/>
          <ac:spMkLst>
            <pc:docMk/>
            <pc:sldMk cId="3268956078" sldId="2145706669"/>
            <ac:spMk id="41" creationId="{20714ADB-E61F-4FAA-B361-F9D6E2A926DA}"/>
          </ac:spMkLst>
        </pc:spChg>
        <pc:spChg chg="mod">
          <ac:chgData name="Daniel Barnes" userId="b303a15ee67145ed" providerId="LiveId" clId="{4A5A1811-DFF2-43F5-A7A7-22A66EF04CEB}" dt="2022-03-13T21:53:34.124" v="3399" actId="207"/>
          <ac:spMkLst>
            <pc:docMk/>
            <pc:sldMk cId="3268956078" sldId="2145706669"/>
            <ac:spMk id="42" creationId="{A80B3D11-1BAE-451F-B428-F4F5013132C6}"/>
          </ac:spMkLst>
        </pc:spChg>
        <pc:spChg chg="mod">
          <ac:chgData name="Daniel Barnes" userId="b303a15ee67145ed" providerId="LiveId" clId="{4A5A1811-DFF2-43F5-A7A7-22A66EF04CEB}" dt="2022-03-13T21:53:34.124" v="3399" actId="207"/>
          <ac:spMkLst>
            <pc:docMk/>
            <pc:sldMk cId="3268956078" sldId="2145706669"/>
            <ac:spMk id="43" creationId="{B94C6666-B74E-4347-8C9E-DF57C13FA894}"/>
          </ac:spMkLst>
        </pc:spChg>
        <pc:spChg chg="mod">
          <ac:chgData name="Daniel Barnes" userId="b303a15ee67145ed" providerId="LiveId" clId="{4A5A1811-DFF2-43F5-A7A7-22A66EF04CEB}" dt="2022-03-13T21:53:34.124" v="3399" actId="207"/>
          <ac:spMkLst>
            <pc:docMk/>
            <pc:sldMk cId="3268956078" sldId="2145706669"/>
            <ac:spMk id="44" creationId="{F7D55E56-D5F5-4E0F-B6E3-14A84EA3F6FB}"/>
          </ac:spMkLst>
        </pc:spChg>
        <pc:spChg chg="del mod">
          <ac:chgData name="Daniel Barnes" userId="b303a15ee67145ed" providerId="LiveId" clId="{4A5A1811-DFF2-43F5-A7A7-22A66EF04CEB}" dt="2022-03-13T22:23:31.085" v="3976" actId="478"/>
          <ac:spMkLst>
            <pc:docMk/>
            <pc:sldMk cId="3268956078" sldId="2145706669"/>
            <ac:spMk id="45" creationId="{8EC6F565-658E-44CA-878B-FAF35AE9E6AA}"/>
          </ac:spMkLst>
        </pc:spChg>
        <pc:spChg chg="del mod topLvl">
          <ac:chgData name="Daniel Barnes" userId="b303a15ee67145ed" providerId="LiveId" clId="{4A5A1811-DFF2-43F5-A7A7-22A66EF04CEB}" dt="2022-04-03T12:51:54.135" v="22219" actId="478"/>
          <ac:spMkLst>
            <pc:docMk/>
            <pc:sldMk cId="3268956078" sldId="2145706669"/>
            <ac:spMk id="59" creationId="{164D0F47-5D91-4279-B8E9-C025BCBEE18C}"/>
          </ac:spMkLst>
        </pc:spChg>
        <pc:spChg chg="add mod">
          <ac:chgData name="Daniel Barnes" userId="b303a15ee67145ed" providerId="LiveId" clId="{4A5A1811-DFF2-43F5-A7A7-22A66EF04CEB}" dt="2022-04-03T12:57:56.670" v="22314" actId="14100"/>
          <ac:spMkLst>
            <pc:docMk/>
            <pc:sldMk cId="3268956078" sldId="2145706669"/>
            <ac:spMk id="62" creationId="{39CF67DA-B6BD-442A-9E3B-E9F82178A808}"/>
          </ac:spMkLst>
        </pc:spChg>
        <pc:spChg chg="add mod">
          <ac:chgData name="Daniel Barnes" userId="b303a15ee67145ed" providerId="LiveId" clId="{4A5A1811-DFF2-43F5-A7A7-22A66EF04CEB}" dt="2022-04-03T12:54:04.283" v="22249" actId="165"/>
          <ac:spMkLst>
            <pc:docMk/>
            <pc:sldMk cId="3268956078" sldId="2145706669"/>
            <ac:spMk id="63" creationId="{BBB7E310-5744-44CD-9D4B-B79E10657BBC}"/>
          </ac:spMkLst>
        </pc:spChg>
        <pc:spChg chg="del mod topLvl">
          <ac:chgData name="Daniel Barnes" userId="b303a15ee67145ed" providerId="LiveId" clId="{4A5A1811-DFF2-43F5-A7A7-22A66EF04CEB}" dt="2022-03-13T21:57:07.015" v="3461" actId="478"/>
          <ac:spMkLst>
            <pc:docMk/>
            <pc:sldMk cId="3268956078" sldId="2145706669"/>
            <ac:spMk id="66" creationId="{BDB2D857-8B5B-45FF-803C-6B00D3825C12}"/>
          </ac:spMkLst>
        </pc:spChg>
        <pc:spChg chg="mod ord topLvl">
          <ac:chgData name="Daniel Barnes" userId="b303a15ee67145ed" providerId="LiveId" clId="{4A5A1811-DFF2-43F5-A7A7-22A66EF04CEB}" dt="2022-04-03T12:54:09.722" v="22250" actId="165"/>
          <ac:spMkLst>
            <pc:docMk/>
            <pc:sldMk cId="3268956078" sldId="2145706669"/>
            <ac:spMk id="67" creationId="{B2C9F3D2-C317-4CBA-81AC-EA9F4FFFE359}"/>
          </ac:spMkLst>
        </pc:spChg>
        <pc:spChg chg="add del mod topLvl">
          <ac:chgData name="Daniel Barnes" userId="b303a15ee67145ed" providerId="LiveId" clId="{4A5A1811-DFF2-43F5-A7A7-22A66EF04CEB}" dt="2022-04-03T12:51:51.414" v="22218" actId="478"/>
          <ac:spMkLst>
            <pc:docMk/>
            <pc:sldMk cId="3268956078" sldId="2145706669"/>
            <ac:spMk id="68" creationId="{9451C05C-A9BE-49F1-87A6-3BC9A9F6AFBD}"/>
          </ac:spMkLst>
        </pc:spChg>
        <pc:spChg chg="add del mod topLvl">
          <ac:chgData name="Daniel Barnes" userId="b303a15ee67145ed" providerId="LiveId" clId="{4A5A1811-DFF2-43F5-A7A7-22A66EF04CEB}" dt="2022-04-03T12:51:49.624" v="22217" actId="478"/>
          <ac:spMkLst>
            <pc:docMk/>
            <pc:sldMk cId="3268956078" sldId="2145706669"/>
            <ac:spMk id="71" creationId="{925DAB0E-7E9A-4076-A2C9-3490042C3D90}"/>
          </ac:spMkLst>
        </pc:spChg>
        <pc:spChg chg="add mod ord topLvl">
          <ac:chgData name="Daniel Barnes" userId="b303a15ee67145ed" providerId="LiveId" clId="{4A5A1811-DFF2-43F5-A7A7-22A66EF04CEB}" dt="2022-04-03T12:53:11.687" v="22227" actId="165"/>
          <ac:spMkLst>
            <pc:docMk/>
            <pc:sldMk cId="3268956078" sldId="2145706669"/>
            <ac:spMk id="72" creationId="{FD8C8F7F-9D39-4618-9E2F-5BE725E8339B}"/>
          </ac:spMkLst>
        </pc:spChg>
        <pc:spChg chg="add mod">
          <ac:chgData name="Daniel Barnes" userId="b303a15ee67145ed" providerId="LiveId" clId="{4A5A1811-DFF2-43F5-A7A7-22A66EF04CEB}" dt="2022-03-13T22:00:56.668" v="3525"/>
          <ac:spMkLst>
            <pc:docMk/>
            <pc:sldMk cId="3268956078" sldId="2145706669"/>
            <ac:spMk id="76" creationId="{C405DA3D-94CA-4F36-8409-88C31694D468}"/>
          </ac:spMkLst>
        </pc:spChg>
        <pc:spChg chg="add del mod">
          <ac:chgData name="Daniel Barnes" userId="b303a15ee67145ed" providerId="LiveId" clId="{4A5A1811-DFF2-43F5-A7A7-22A66EF04CEB}" dt="2022-04-03T12:50:56.303" v="22213" actId="478"/>
          <ac:spMkLst>
            <pc:docMk/>
            <pc:sldMk cId="3268956078" sldId="2145706669"/>
            <ac:spMk id="77" creationId="{7A786174-D664-44F6-8781-4CB3AC9FE54D}"/>
          </ac:spMkLst>
        </pc:spChg>
        <pc:spChg chg="add mod">
          <ac:chgData name="Daniel Barnes" userId="b303a15ee67145ed" providerId="LiveId" clId="{4A5A1811-DFF2-43F5-A7A7-22A66EF04CEB}" dt="2022-04-03T12:52:26.611" v="22224" actId="1076"/>
          <ac:spMkLst>
            <pc:docMk/>
            <pc:sldMk cId="3268956078" sldId="2145706669"/>
            <ac:spMk id="80" creationId="{C50761B1-1B75-4004-9D23-2B51C0ECF96A}"/>
          </ac:spMkLst>
        </pc:spChg>
        <pc:spChg chg="add mod">
          <ac:chgData name="Daniel Barnes" userId="b303a15ee67145ed" providerId="LiveId" clId="{4A5A1811-DFF2-43F5-A7A7-22A66EF04CEB}" dt="2022-04-03T12:59:17.722" v="22322" actId="208"/>
          <ac:spMkLst>
            <pc:docMk/>
            <pc:sldMk cId="3268956078" sldId="2145706669"/>
            <ac:spMk id="81" creationId="{D6C10BC8-0BF1-413F-B10D-1C5366151463}"/>
          </ac:spMkLst>
        </pc:spChg>
        <pc:spChg chg="add mod">
          <ac:chgData name="Daniel Barnes" userId="b303a15ee67145ed" providerId="LiveId" clId="{4A5A1811-DFF2-43F5-A7A7-22A66EF04CEB}" dt="2022-03-13T22:04:09.530" v="3578" actId="164"/>
          <ac:spMkLst>
            <pc:docMk/>
            <pc:sldMk cId="3268956078" sldId="2145706669"/>
            <ac:spMk id="82" creationId="{AF5A6ED4-370A-42C9-A9A3-6C185B573F1F}"/>
          </ac:spMkLst>
        </pc:spChg>
        <pc:spChg chg="mod">
          <ac:chgData name="Daniel Barnes" userId="b303a15ee67145ed" providerId="LiveId" clId="{4A5A1811-DFF2-43F5-A7A7-22A66EF04CEB}" dt="2022-03-13T22:06:55.567" v="3609" actId="14100"/>
          <ac:spMkLst>
            <pc:docMk/>
            <pc:sldMk cId="3268956078" sldId="2145706669"/>
            <ac:spMk id="92" creationId="{4BC70F49-C9CD-4930-90C2-C2E9F0A1C606}"/>
          </ac:spMkLst>
        </pc:spChg>
        <pc:spChg chg="mod">
          <ac:chgData name="Daniel Barnes" userId="b303a15ee67145ed" providerId="LiveId" clId="{4A5A1811-DFF2-43F5-A7A7-22A66EF04CEB}" dt="2022-03-13T22:06:30.742" v="3602" actId="20577"/>
          <ac:spMkLst>
            <pc:docMk/>
            <pc:sldMk cId="3268956078" sldId="2145706669"/>
            <ac:spMk id="93" creationId="{2B53FA17-FB4A-40DC-9347-88CE67C7A46B}"/>
          </ac:spMkLst>
        </pc:spChg>
        <pc:spChg chg="mod">
          <ac:chgData name="Daniel Barnes" userId="b303a15ee67145ed" providerId="LiveId" clId="{4A5A1811-DFF2-43F5-A7A7-22A66EF04CEB}" dt="2022-03-13T22:07:42.217" v="3630" actId="207"/>
          <ac:spMkLst>
            <pc:docMk/>
            <pc:sldMk cId="3268956078" sldId="2145706669"/>
            <ac:spMk id="94" creationId="{3385DFA2-E084-4E8A-A64B-2ECACEE0EA10}"/>
          </ac:spMkLst>
        </pc:spChg>
        <pc:spChg chg="mod">
          <ac:chgData name="Daniel Barnes" userId="b303a15ee67145ed" providerId="LiveId" clId="{4A5A1811-DFF2-43F5-A7A7-22A66EF04CEB}" dt="2022-03-13T22:06:27.983" v="3600" actId="20577"/>
          <ac:spMkLst>
            <pc:docMk/>
            <pc:sldMk cId="3268956078" sldId="2145706669"/>
            <ac:spMk id="95" creationId="{EFEE615F-EF95-4FB7-906D-F01590F3B3C5}"/>
          </ac:spMkLst>
        </pc:spChg>
        <pc:spChg chg="mod">
          <ac:chgData name="Daniel Barnes" userId="b303a15ee67145ed" providerId="LiveId" clId="{4A5A1811-DFF2-43F5-A7A7-22A66EF04CEB}" dt="2022-03-13T22:06:14.611" v="3594" actId="165"/>
          <ac:spMkLst>
            <pc:docMk/>
            <pc:sldMk cId="3268956078" sldId="2145706669"/>
            <ac:spMk id="96" creationId="{6CEF0B9A-0F09-4660-86B1-07EF3DC71DEF}"/>
          </ac:spMkLst>
        </pc:spChg>
        <pc:spChg chg="mod">
          <ac:chgData name="Daniel Barnes" userId="b303a15ee67145ed" providerId="LiveId" clId="{4A5A1811-DFF2-43F5-A7A7-22A66EF04CEB}" dt="2022-03-13T22:06:14.611" v="3594" actId="165"/>
          <ac:spMkLst>
            <pc:docMk/>
            <pc:sldMk cId="3268956078" sldId="2145706669"/>
            <ac:spMk id="97" creationId="{87A6FD15-083C-4BB2-978A-DC3F7C055144}"/>
          </ac:spMkLst>
        </pc:spChg>
        <pc:spChg chg="mod">
          <ac:chgData name="Daniel Barnes" userId="b303a15ee67145ed" providerId="LiveId" clId="{4A5A1811-DFF2-43F5-A7A7-22A66EF04CEB}" dt="2022-03-13T22:06:14.611" v="3594" actId="165"/>
          <ac:spMkLst>
            <pc:docMk/>
            <pc:sldMk cId="3268956078" sldId="2145706669"/>
            <ac:spMk id="98" creationId="{D9C8CD23-1B6A-44BA-8736-7C171EE6EF30}"/>
          </ac:spMkLst>
        </pc:spChg>
        <pc:spChg chg="mod">
          <ac:chgData name="Daniel Barnes" userId="b303a15ee67145ed" providerId="LiveId" clId="{4A5A1811-DFF2-43F5-A7A7-22A66EF04CEB}" dt="2022-03-13T22:06:14.611" v="3594" actId="165"/>
          <ac:spMkLst>
            <pc:docMk/>
            <pc:sldMk cId="3268956078" sldId="2145706669"/>
            <ac:spMk id="99" creationId="{2E6729FD-4367-4F64-9850-04C6BA339563}"/>
          </ac:spMkLst>
        </pc:spChg>
        <pc:spChg chg="mod">
          <ac:chgData name="Daniel Barnes" userId="b303a15ee67145ed" providerId="LiveId" clId="{4A5A1811-DFF2-43F5-A7A7-22A66EF04CEB}" dt="2022-03-13T22:07:20.484" v="3627" actId="14100"/>
          <ac:spMkLst>
            <pc:docMk/>
            <pc:sldMk cId="3268956078" sldId="2145706669"/>
            <ac:spMk id="101" creationId="{8090EF49-CE73-4961-B2C7-1E72A88061A7}"/>
          </ac:spMkLst>
        </pc:spChg>
        <pc:spChg chg="mod">
          <ac:chgData name="Daniel Barnes" userId="b303a15ee67145ed" providerId="LiveId" clId="{4A5A1811-DFF2-43F5-A7A7-22A66EF04CEB}" dt="2022-03-13T22:06:17.299" v="3595"/>
          <ac:spMkLst>
            <pc:docMk/>
            <pc:sldMk cId="3268956078" sldId="2145706669"/>
            <ac:spMk id="102" creationId="{94C0A95C-6072-4320-80E0-ADEBED7CD1F1}"/>
          </ac:spMkLst>
        </pc:spChg>
        <pc:spChg chg="add del mod">
          <ac:chgData name="Daniel Barnes" userId="b303a15ee67145ed" providerId="LiveId" clId="{4A5A1811-DFF2-43F5-A7A7-22A66EF04CEB}" dt="2022-03-13T22:23:10.161" v="3970"/>
          <ac:spMkLst>
            <pc:docMk/>
            <pc:sldMk cId="3268956078" sldId="2145706669"/>
            <ac:spMk id="103" creationId="{8880EFC5-2276-4487-BEC2-BA7D882BE984}"/>
          </ac:spMkLst>
        </pc:spChg>
        <pc:spChg chg="add mod">
          <ac:chgData name="Daniel Barnes" userId="b303a15ee67145ed" providerId="LiveId" clId="{4A5A1811-DFF2-43F5-A7A7-22A66EF04CEB}" dt="2022-03-13T22:23:14.242" v="3973"/>
          <ac:spMkLst>
            <pc:docMk/>
            <pc:sldMk cId="3268956078" sldId="2145706669"/>
            <ac:spMk id="104" creationId="{1371C763-D6D4-4861-9156-C410030BD15E}"/>
          </ac:spMkLst>
        </pc:spChg>
        <pc:grpChg chg="add del mod">
          <ac:chgData name="Daniel Barnes" userId="b303a15ee67145ed" providerId="LiveId" clId="{4A5A1811-DFF2-43F5-A7A7-22A66EF04CEB}" dt="2022-04-03T12:54:04.283" v="22249" actId="165"/>
          <ac:grpSpMkLst>
            <pc:docMk/>
            <pc:sldMk cId="3268956078" sldId="2145706669"/>
            <ac:grpSpMk id="3" creationId="{B3EB2266-75CB-4EB8-85C8-4ABD4146EFB8}"/>
          </ac:grpSpMkLst>
        </pc:grpChg>
        <pc:grpChg chg="del mod">
          <ac:chgData name="Daniel Barnes" userId="b303a15ee67145ed" providerId="LiveId" clId="{4A5A1811-DFF2-43F5-A7A7-22A66EF04CEB}" dt="2022-03-13T22:07:45.744" v="3631" actId="478"/>
          <ac:grpSpMkLst>
            <pc:docMk/>
            <pc:sldMk cId="3268956078" sldId="2145706669"/>
            <ac:grpSpMk id="4" creationId="{4FA1DCF7-B8B8-47A2-BF8F-4013E5E281E3}"/>
          </ac:grpSpMkLst>
        </pc:grpChg>
        <pc:grpChg chg="del mod">
          <ac:chgData name="Daniel Barnes" userId="b303a15ee67145ed" providerId="LiveId" clId="{4A5A1811-DFF2-43F5-A7A7-22A66EF04CEB}" dt="2022-03-13T22:07:45.744" v="3631" actId="478"/>
          <ac:grpSpMkLst>
            <pc:docMk/>
            <pc:sldMk cId="3268956078" sldId="2145706669"/>
            <ac:grpSpMk id="6" creationId="{BD73872E-2FFB-4D32-BB40-86EF9B8307F8}"/>
          </ac:grpSpMkLst>
        </pc:grpChg>
        <pc:grpChg chg="del mod">
          <ac:chgData name="Daniel Barnes" userId="b303a15ee67145ed" providerId="LiveId" clId="{4A5A1811-DFF2-43F5-A7A7-22A66EF04CEB}" dt="2022-03-13T22:07:45.744" v="3631" actId="478"/>
          <ac:grpSpMkLst>
            <pc:docMk/>
            <pc:sldMk cId="3268956078" sldId="2145706669"/>
            <ac:grpSpMk id="8" creationId="{0CD88153-CAD0-4AF4-99BB-128A898887EA}"/>
          </ac:grpSpMkLst>
        </pc:grpChg>
        <pc:grpChg chg="del mod">
          <ac:chgData name="Daniel Barnes" userId="b303a15ee67145ed" providerId="LiveId" clId="{4A5A1811-DFF2-43F5-A7A7-22A66EF04CEB}" dt="2022-03-13T22:07:45.744" v="3631" actId="478"/>
          <ac:grpSpMkLst>
            <pc:docMk/>
            <pc:sldMk cId="3268956078" sldId="2145706669"/>
            <ac:grpSpMk id="10" creationId="{068C8011-CE50-4093-91FC-5D240A58628A}"/>
          </ac:grpSpMkLst>
        </pc:grpChg>
        <pc:grpChg chg="del mod">
          <ac:chgData name="Daniel Barnes" userId="b303a15ee67145ed" providerId="LiveId" clId="{4A5A1811-DFF2-43F5-A7A7-22A66EF04CEB}" dt="2022-03-13T22:07:45.744" v="3631" actId="478"/>
          <ac:grpSpMkLst>
            <pc:docMk/>
            <pc:sldMk cId="3268956078" sldId="2145706669"/>
            <ac:grpSpMk id="12" creationId="{31AD0998-6DA2-41CB-BFF8-AEC87670DB77}"/>
          </ac:grpSpMkLst>
        </pc:grpChg>
        <pc:grpChg chg="del">
          <ac:chgData name="Daniel Barnes" userId="b303a15ee67145ed" providerId="LiveId" clId="{4A5A1811-DFF2-43F5-A7A7-22A66EF04CEB}" dt="2022-03-13T21:53:25.696" v="3397" actId="478"/>
          <ac:grpSpMkLst>
            <pc:docMk/>
            <pc:sldMk cId="3268956078" sldId="2145706669"/>
            <ac:grpSpMk id="17" creationId="{FBAAEB3C-771F-44C8-B526-A886D9EA1A4C}"/>
          </ac:grpSpMkLst>
        </pc:grpChg>
        <pc:grpChg chg="del">
          <ac:chgData name="Daniel Barnes" userId="b303a15ee67145ed" providerId="LiveId" clId="{4A5A1811-DFF2-43F5-A7A7-22A66EF04CEB}" dt="2022-03-13T21:53:23.951" v="3396" actId="478"/>
          <ac:grpSpMkLst>
            <pc:docMk/>
            <pc:sldMk cId="3268956078" sldId="2145706669"/>
            <ac:grpSpMk id="24" creationId="{D8212EF3-2C11-43C4-A86B-A6C494DC7181}"/>
          </ac:grpSpMkLst>
        </pc:grpChg>
        <pc:grpChg chg="del">
          <ac:chgData name="Daniel Barnes" userId="b303a15ee67145ed" providerId="LiveId" clId="{4A5A1811-DFF2-43F5-A7A7-22A66EF04CEB}" dt="2022-03-13T21:53:23.951" v="3396" actId="478"/>
          <ac:grpSpMkLst>
            <pc:docMk/>
            <pc:sldMk cId="3268956078" sldId="2145706669"/>
            <ac:grpSpMk id="25" creationId="{0E89DCB5-18E3-4F5C-AF33-AA585F3AABE1}"/>
          </ac:grpSpMkLst>
        </pc:grpChg>
        <pc:grpChg chg="del">
          <ac:chgData name="Daniel Barnes" userId="b303a15ee67145ed" providerId="LiveId" clId="{4A5A1811-DFF2-43F5-A7A7-22A66EF04CEB}" dt="2022-03-13T21:53:23.951" v="3396" actId="478"/>
          <ac:grpSpMkLst>
            <pc:docMk/>
            <pc:sldMk cId="3268956078" sldId="2145706669"/>
            <ac:grpSpMk id="26" creationId="{513E8FD0-F3D2-4417-9146-0EC27C90A079}"/>
          </ac:grpSpMkLst>
        </pc:grpChg>
        <pc:grpChg chg="del">
          <ac:chgData name="Daniel Barnes" userId="b303a15ee67145ed" providerId="LiveId" clId="{4A5A1811-DFF2-43F5-A7A7-22A66EF04CEB}" dt="2022-03-13T21:53:23.951" v="3396" actId="478"/>
          <ac:grpSpMkLst>
            <pc:docMk/>
            <pc:sldMk cId="3268956078" sldId="2145706669"/>
            <ac:grpSpMk id="27" creationId="{A387584E-8326-4604-BA37-DA00C1391CD3}"/>
          </ac:grpSpMkLst>
        </pc:grpChg>
        <pc:grpChg chg="add del mod">
          <ac:chgData name="Daniel Barnes" userId="b303a15ee67145ed" providerId="LiveId" clId="{4A5A1811-DFF2-43F5-A7A7-22A66EF04CEB}" dt="2022-04-03T12:56:34.078" v="22300" actId="478"/>
          <ac:grpSpMkLst>
            <pc:docMk/>
            <pc:sldMk cId="3268956078" sldId="2145706669"/>
            <ac:grpSpMk id="51" creationId="{DFED0E52-91F8-41EE-8B24-EE8987164891}"/>
          </ac:grpSpMkLst>
        </pc:grpChg>
        <pc:grpChg chg="add mod topLvl">
          <ac:chgData name="Daniel Barnes" userId="b303a15ee67145ed" providerId="LiveId" clId="{4A5A1811-DFF2-43F5-A7A7-22A66EF04CEB}" dt="2022-04-03T12:54:04.283" v="22249" actId="165"/>
          <ac:grpSpMkLst>
            <pc:docMk/>
            <pc:sldMk cId="3268956078" sldId="2145706669"/>
            <ac:grpSpMk id="55" creationId="{48B459F7-1B9F-459C-BC06-767291EFDCD1}"/>
          </ac:grpSpMkLst>
        </pc:grpChg>
        <pc:grpChg chg="add mod ord topLvl">
          <ac:chgData name="Daniel Barnes" userId="b303a15ee67145ed" providerId="LiveId" clId="{4A5A1811-DFF2-43F5-A7A7-22A66EF04CEB}" dt="2022-04-03T12:56:03.963" v="22288" actId="167"/>
          <ac:grpSpMkLst>
            <pc:docMk/>
            <pc:sldMk cId="3268956078" sldId="2145706669"/>
            <ac:grpSpMk id="56" creationId="{C44FE2AD-8293-4A18-9CD6-4214211CE245}"/>
          </ac:grpSpMkLst>
        </pc:grpChg>
        <pc:grpChg chg="add del mod">
          <ac:chgData name="Daniel Barnes" userId="b303a15ee67145ed" providerId="LiveId" clId="{4A5A1811-DFF2-43F5-A7A7-22A66EF04CEB}" dt="2022-03-13T21:55:25.975" v="3433" actId="478"/>
          <ac:grpSpMkLst>
            <pc:docMk/>
            <pc:sldMk cId="3268956078" sldId="2145706669"/>
            <ac:grpSpMk id="57" creationId="{DF0C10F8-F09B-4B81-AB33-2AE9F7C866E8}"/>
          </ac:grpSpMkLst>
        </pc:grpChg>
        <pc:grpChg chg="add mod">
          <ac:chgData name="Daniel Barnes" userId="b303a15ee67145ed" providerId="LiveId" clId="{4A5A1811-DFF2-43F5-A7A7-22A66EF04CEB}" dt="2022-04-03T12:56:38.934" v="22302"/>
          <ac:grpSpMkLst>
            <pc:docMk/>
            <pc:sldMk cId="3268956078" sldId="2145706669"/>
            <ac:grpSpMk id="58" creationId="{6CD4D9FA-B7FB-4493-B7DC-38D5492034E9}"/>
          </ac:grpSpMkLst>
        </pc:grpChg>
        <pc:grpChg chg="del mod">
          <ac:chgData name="Daniel Barnes" userId="b303a15ee67145ed" providerId="LiveId" clId="{4A5A1811-DFF2-43F5-A7A7-22A66EF04CEB}" dt="2022-03-13T21:55:24.872" v="3432" actId="478"/>
          <ac:grpSpMkLst>
            <pc:docMk/>
            <pc:sldMk cId="3268956078" sldId="2145706669"/>
            <ac:grpSpMk id="58" creationId="{93F2648F-98FA-41EA-BA89-D36C0330AFBD}"/>
          </ac:grpSpMkLst>
        </pc:grpChg>
        <pc:grpChg chg="add del mod topLvl">
          <ac:chgData name="Daniel Barnes" userId="b303a15ee67145ed" providerId="LiveId" clId="{4A5A1811-DFF2-43F5-A7A7-22A66EF04CEB}" dt="2022-04-03T12:51:54.135" v="22219" actId="478"/>
          <ac:grpSpMkLst>
            <pc:docMk/>
            <pc:sldMk cId="3268956078" sldId="2145706669"/>
            <ac:grpSpMk id="64" creationId="{2D9583BA-181B-4615-BD6E-25A9F2946C33}"/>
          </ac:grpSpMkLst>
        </pc:grpChg>
        <pc:grpChg chg="add del mod">
          <ac:chgData name="Daniel Barnes" userId="b303a15ee67145ed" providerId="LiveId" clId="{4A5A1811-DFF2-43F5-A7A7-22A66EF04CEB}" dt="2022-03-13T21:57:07.015" v="3461" actId="478"/>
          <ac:grpSpMkLst>
            <pc:docMk/>
            <pc:sldMk cId="3268956078" sldId="2145706669"/>
            <ac:grpSpMk id="65" creationId="{03063B24-C9E1-4CC1-A3F5-3E275761F721}"/>
          </ac:grpSpMkLst>
        </pc:grpChg>
        <pc:grpChg chg="add del mod">
          <ac:chgData name="Daniel Barnes" userId="b303a15ee67145ed" providerId="LiveId" clId="{4A5A1811-DFF2-43F5-A7A7-22A66EF04CEB}" dt="2022-03-13T22:00:29.317" v="3518" actId="165"/>
          <ac:grpSpMkLst>
            <pc:docMk/>
            <pc:sldMk cId="3268956078" sldId="2145706669"/>
            <ac:grpSpMk id="69" creationId="{120C4BFC-0E40-450C-8D56-4F3C7EC2CEA7}"/>
          </ac:grpSpMkLst>
        </pc:grpChg>
        <pc:grpChg chg="add del mod">
          <ac:chgData name="Daniel Barnes" userId="b303a15ee67145ed" providerId="LiveId" clId="{4A5A1811-DFF2-43F5-A7A7-22A66EF04CEB}" dt="2022-03-13T22:01:35.362" v="3536" actId="165"/>
          <ac:grpSpMkLst>
            <pc:docMk/>
            <pc:sldMk cId="3268956078" sldId="2145706669"/>
            <ac:grpSpMk id="70" creationId="{A043A00F-5177-4BEC-9D1D-0D2C0CD9D5C7}"/>
          </ac:grpSpMkLst>
        </pc:grpChg>
        <pc:grpChg chg="add del mod topLvl">
          <ac:chgData name="Daniel Barnes" userId="b303a15ee67145ed" providerId="LiveId" clId="{4A5A1811-DFF2-43F5-A7A7-22A66EF04CEB}" dt="2022-04-03T12:53:11.687" v="22227" actId="165"/>
          <ac:grpSpMkLst>
            <pc:docMk/>
            <pc:sldMk cId="3268956078" sldId="2145706669"/>
            <ac:grpSpMk id="73" creationId="{72C4BFA5-3B99-4759-8EC0-A2FA3A8C2A93}"/>
          </ac:grpSpMkLst>
        </pc:grpChg>
        <pc:grpChg chg="add del mod">
          <ac:chgData name="Daniel Barnes" userId="b303a15ee67145ed" providerId="LiveId" clId="{4A5A1811-DFF2-43F5-A7A7-22A66EF04CEB}" dt="2022-03-13T22:01:30.350" v="3534" actId="165"/>
          <ac:grpSpMkLst>
            <pc:docMk/>
            <pc:sldMk cId="3268956078" sldId="2145706669"/>
            <ac:grpSpMk id="74" creationId="{E4128A5A-62FB-4BCF-857D-1C2E012CA6DB}"/>
          </ac:grpSpMkLst>
        </pc:grpChg>
        <pc:grpChg chg="add del mod">
          <ac:chgData name="Daniel Barnes" userId="b303a15ee67145ed" providerId="LiveId" clId="{4A5A1811-DFF2-43F5-A7A7-22A66EF04CEB}" dt="2022-03-13T22:01:32.475" v="3535" actId="165"/>
          <ac:grpSpMkLst>
            <pc:docMk/>
            <pc:sldMk cId="3268956078" sldId="2145706669"/>
            <ac:grpSpMk id="75" creationId="{7198DE84-942E-4716-9112-B6911797B063}"/>
          </ac:grpSpMkLst>
        </pc:grpChg>
        <pc:grpChg chg="add del mod">
          <ac:chgData name="Daniel Barnes" userId="b303a15ee67145ed" providerId="LiveId" clId="{4A5A1811-DFF2-43F5-A7A7-22A66EF04CEB}" dt="2022-04-03T12:51:49.624" v="22217" actId="478"/>
          <ac:grpSpMkLst>
            <pc:docMk/>
            <pc:sldMk cId="3268956078" sldId="2145706669"/>
            <ac:grpSpMk id="78" creationId="{7A50C85A-9639-4B37-9035-328AC696E8CE}"/>
          </ac:grpSpMkLst>
        </pc:grpChg>
        <pc:grpChg chg="add del mod">
          <ac:chgData name="Daniel Barnes" userId="b303a15ee67145ed" providerId="LiveId" clId="{4A5A1811-DFF2-43F5-A7A7-22A66EF04CEB}" dt="2022-04-03T12:50:56.303" v="22213" actId="478"/>
          <ac:grpSpMkLst>
            <pc:docMk/>
            <pc:sldMk cId="3268956078" sldId="2145706669"/>
            <ac:grpSpMk id="79" creationId="{8E4E5152-86F0-4A29-9916-B37EAFAE72BC}"/>
          </ac:grpSpMkLst>
        </pc:grpChg>
        <pc:grpChg chg="add mod">
          <ac:chgData name="Daniel Barnes" userId="b303a15ee67145ed" providerId="LiveId" clId="{4A5A1811-DFF2-43F5-A7A7-22A66EF04CEB}" dt="2022-03-13T22:05:03.863" v="3584" actId="12788"/>
          <ac:grpSpMkLst>
            <pc:docMk/>
            <pc:sldMk cId="3268956078" sldId="2145706669"/>
            <ac:grpSpMk id="83" creationId="{9176D75B-05EA-4B19-B6D3-B418F14B0ADD}"/>
          </ac:grpSpMkLst>
        </pc:grpChg>
        <pc:grpChg chg="add del mod topLvl">
          <ac:chgData name="Daniel Barnes" userId="b303a15ee67145ed" providerId="LiveId" clId="{4A5A1811-DFF2-43F5-A7A7-22A66EF04CEB}" dt="2022-04-03T12:54:09.722" v="22250" actId="165"/>
          <ac:grpSpMkLst>
            <pc:docMk/>
            <pc:sldMk cId="3268956078" sldId="2145706669"/>
            <ac:grpSpMk id="84" creationId="{5F22909C-3579-4BB4-92E9-F19139A63024}"/>
          </ac:grpSpMkLst>
        </pc:grpChg>
        <pc:grpChg chg="add mod topLvl">
          <ac:chgData name="Daniel Barnes" userId="b303a15ee67145ed" providerId="LiveId" clId="{4A5A1811-DFF2-43F5-A7A7-22A66EF04CEB}" dt="2022-04-03T12:58:18.397" v="22317" actId="339"/>
          <ac:grpSpMkLst>
            <pc:docMk/>
            <pc:sldMk cId="3268956078" sldId="2145706669"/>
            <ac:grpSpMk id="85" creationId="{63EAAE0C-AD15-43D9-AB32-6192AE475489}"/>
          </ac:grpSpMkLst>
        </pc:grpChg>
        <pc:grpChg chg="add mod">
          <ac:chgData name="Daniel Barnes" userId="b303a15ee67145ed" providerId="LiveId" clId="{4A5A1811-DFF2-43F5-A7A7-22A66EF04CEB}" dt="2022-03-13T22:05:08.647" v="3585" actId="465"/>
          <ac:grpSpMkLst>
            <pc:docMk/>
            <pc:sldMk cId="3268956078" sldId="2145706669"/>
            <ac:grpSpMk id="86" creationId="{0B73F6E9-84C5-4B5E-88F5-979E8C598231}"/>
          </ac:grpSpMkLst>
        </pc:grpChg>
        <pc:grpChg chg="add del mod">
          <ac:chgData name="Daniel Barnes" userId="b303a15ee67145ed" providerId="LiveId" clId="{4A5A1811-DFF2-43F5-A7A7-22A66EF04CEB}" dt="2022-03-13T22:06:14.611" v="3594" actId="165"/>
          <ac:grpSpMkLst>
            <pc:docMk/>
            <pc:sldMk cId="3268956078" sldId="2145706669"/>
            <ac:grpSpMk id="87" creationId="{01553966-5313-4E83-8F4E-857A7A03534B}"/>
          </ac:grpSpMkLst>
        </pc:grpChg>
        <pc:grpChg chg="mod topLvl">
          <ac:chgData name="Daniel Barnes" userId="b303a15ee67145ed" providerId="LiveId" clId="{4A5A1811-DFF2-43F5-A7A7-22A66EF04CEB}" dt="2022-03-13T22:07:26.210" v="3628" actId="552"/>
          <ac:grpSpMkLst>
            <pc:docMk/>
            <pc:sldMk cId="3268956078" sldId="2145706669"/>
            <ac:grpSpMk id="88" creationId="{E08423B1-0899-4D23-A5E4-6ECDD6665537}"/>
          </ac:grpSpMkLst>
        </pc:grpChg>
        <pc:grpChg chg="mod topLvl">
          <ac:chgData name="Daniel Barnes" userId="b303a15ee67145ed" providerId="LiveId" clId="{4A5A1811-DFF2-43F5-A7A7-22A66EF04CEB}" dt="2022-03-13T22:07:29.328" v="3629" actId="465"/>
          <ac:grpSpMkLst>
            <pc:docMk/>
            <pc:sldMk cId="3268956078" sldId="2145706669"/>
            <ac:grpSpMk id="89" creationId="{2C6ECCBD-95B3-406E-A51B-0005DBA8196C}"/>
          </ac:grpSpMkLst>
        </pc:grpChg>
        <pc:grpChg chg="mod topLvl">
          <ac:chgData name="Daniel Barnes" userId="b303a15ee67145ed" providerId="LiveId" clId="{4A5A1811-DFF2-43F5-A7A7-22A66EF04CEB}" dt="2022-03-13T22:07:29.328" v="3629" actId="465"/>
          <ac:grpSpMkLst>
            <pc:docMk/>
            <pc:sldMk cId="3268956078" sldId="2145706669"/>
            <ac:grpSpMk id="90" creationId="{68C6E4DA-0F06-4249-8C07-86CCC23EB04E}"/>
          </ac:grpSpMkLst>
        </pc:grpChg>
        <pc:grpChg chg="mod topLvl">
          <ac:chgData name="Daniel Barnes" userId="b303a15ee67145ed" providerId="LiveId" clId="{4A5A1811-DFF2-43F5-A7A7-22A66EF04CEB}" dt="2022-03-13T22:07:26.210" v="3628" actId="552"/>
          <ac:grpSpMkLst>
            <pc:docMk/>
            <pc:sldMk cId="3268956078" sldId="2145706669"/>
            <ac:grpSpMk id="91" creationId="{071107B7-A607-4F22-84FD-0375DDEE24FE}"/>
          </ac:grpSpMkLst>
        </pc:grpChg>
        <pc:grpChg chg="add mod">
          <ac:chgData name="Daniel Barnes" userId="b303a15ee67145ed" providerId="LiveId" clId="{4A5A1811-DFF2-43F5-A7A7-22A66EF04CEB}" dt="2022-03-13T22:07:29.328" v="3629" actId="465"/>
          <ac:grpSpMkLst>
            <pc:docMk/>
            <pc:sldMk cId="3268956078" sldId="2145706669"/>
            <ac:grpSpMk id="100" creationId="{68AEA285-1F25-41B4-893E-13537A7950FB}"/>
          </ac:grpSpMkLst>
        </pc:grpChg>
        <pc:picChg chg="add del mod">
          <ac:chgData name="Daniel Barnes" userId="b303a15ee67145ed" providerId="LiveId" clId="{4A5A1811-DFF2-43F5-A7A7-22A66EF04CEB}" dt="2022-04-03T12:54:00.802" v="22248"/>
          <ac:picMkLst>
            <pc:docMk/>
            <pc:sldMk cId="3268956078" sldId="2145706669"/>
            <ac:picMk id="4" creationId="{9C1A0C82-32EA-4CE4-8D49-893279A44224}"/>
          </ac:picMkLst>
        </pc:picChg>
        <pc:picChg chg="add del mod modCrop">
          <ac:chgData name="Daniel Barnes" userId="b303a15ee67145ed" providerId="LiveId" clId="{4A5A1811-DFF2-43F5-A7A7-22A66EF04CEB}" dt="2022-04-03T12:55:16.686" v="22275" actId="478"/>
          <ac:picMkLst>
            <pc:docMk/>
            <pc:sldMk cId="3268956078" sldId="2145706669"/>
            <ac:picMk id="5" creationId="{9962195C-DAA4-4302-9601-6FEB84DCA416}"/>
          </ac:picMkLst>
        </pc:picChg>
        <pc:picChg chg="add mod modCrop">
          <ac:chgData name="Daniel Barnes" userId="b303a15ee67145ed" providerId="LiveId" clId="{4A5A1811-DFF2-43F5-A7A7-22A66EF04CEB}" dt="2022-04-03T12:58:12.092" v="22316" actId="339"/>
          <ac:picMkLst>
            <pc:docMk/>
            <pc:sldMk cId="3268956078" sldId="2145706669"/>
            <ac:picMk id="18" creationId="{62A782CB-FBF8-480B-9344-F1A3121A289C}"/>
          </ac:picMkLst>
        </pc:picChg>
        <pc:picChg chg="add mod">
          <ac:chgData name="Daniel Barnes" userId="b303a15ee67145ed" providerId="LiveId" clId="{4A5A1811-DFF2-43F5-A7A7-22A66EF04CEB}" dt="2022-04-03T12:59:02.499" v="22321" actId="108"/>
          <ac:picMkLst>
            <pc:docMk/>
            <pc:sldMk cId="3268956078" sldId="2145706669"/>
            <ac:picMk id="28" creationId="{994D50CC-53FA-4221-81D3-C6F344821353}"/>
          </ac:picMkLst>
        </pc:picChg>
        <pc:picChg chg="add mod">
          <ac:chgData name="Daniel Barnes" userId="b303a15ee67145ed" providerId="LiveId" clId="{4A5A1811-DFF2-43F5-A7A7-22A66EF04CEB}" dt="2022-04-03T12:54:24.913" v="22255" actId="208"/>
          <ac:picMkLst>
            <pc:docMk/>
            <pc:sldMk cId="3268956078" sldId="2145706669"/>
            <ac:picMk id="39" creationId="{FBADA638-DD2C-45D4-97B8-F549079015B2}"/>
          </ac:picMkLst>
        </pc:picChg>
        <pc:picChg chg="add mod">
          <ac:chgData name="Daniel Barnes" userId="b303a15ee67145ed" providerId="LiveId" clId="{4A5A1811-DFF2-43F5-A7A7-22A66EF04CEB}" dt="2022-04-03T12:54:24.913" v="22255" actId="208"/>
          <ac:picMkLst>
            <pc:docMk/>
            <pc:sldMk cId="3268956078" sldId="2145706669"/>
            <ac:picMk id="48" creationId="{B0121EAB-24D4-4312-8BC0-A550484A2B3F}"/>
          </ac:picMkLst>
        </pc:picChg>
        <pc:picChg chg="add mod topLvl">
          <ac:chgData name="Daniel Barnes" userId="b303a15ee67145ed" providerId="LiveId" clId="{4A5A1811-DFF2-43F5-A7A7-22A66EF04CEB}" dt="2022-04-03T12:53:11.687" v="22227" actId="165"/>
          <ac:picMkLst>
            <pc:docMk/>
            <pc:sldMk cId="3268956078" sldId="2145706669"/>
            <ac:picMk id="50" creationId="{0B98088E-6604-4D67-A1EC-1614BA29603A}"/>
          </ac:picMkLst>
        </pc:picChg>
        <pc:picChg chg="add mod">
          <ac:chgData name="Daniel Barnes" userId="b303a15ee67145ed" providerId="LiveId" clId="{4A5A1811-DFF2-43F5-A7A7-22A66EF04CEB}" dt="2022-04-03T12:52:15.799" v="22222" actId="14100"/>
          <ac:picMkLst>
            <pc:docMk/>
            <pc:sldMk cId="3268956078" sldId="2145706669"/>
            <ac:picMk id="52" creationId="{EF7C2E8E-94D3-4BB8-80CE-7A7EAD67FF99}"/>
          </ac:picMkLst>
        </pc:picChg>
        <pc:picChg chg="mod">
          <ac:chgData name="Daniel Barnes" userId="b303a15ee67145ed" providerId="LiveId" clId="{4A5A1811-DFF2-43F5-A7A7-22A66EF04CEB}" dt="2022-04-03T12:56:32.244" v="22298"/>
          <ac:picMkLst>
            <pc:docMk/>
            <pc:sldMk cId="3268956078" sldId="2145706669"/>
            <ac:picMk id="53" creationId="{2B8BD0D9-CEC3-446E-A156-2DE84D0FA199}"/>
          </ac:picMkLst>
        </pc:picChg>
        <pc:picChg chg="add mod">
          <ac:chgData name="Daniel Barnes" userId="b303a15ee67145ed" providerId="LiveId" clId="{4A5A1811-DFF2-43F5-A7A7-22A66EF04CEB}" dt="2022-03-13T22:04:09.530" v="3578" actId="164"/>
          <ac:picMkLst>
            <pc:docMk/>
            <pc:sldMk cId="3268956078" sldId="2145706669"/>
            <ac:picMk id="54" creationId="{D04DB5DA-393F-422D-A930-C03E8FAE4961}"/>
          </ac:picMkLst>
        </pc:picChg>
        <pc:picChg chg="mod">
          <ac:chgData name="Daniel Barnes" userId="b303a15ee67145ed" providerId="LiveId" clId="{4A5A1811-DFF2-43F5-A7A7-22A66EF04CEB}" dt="2022-04-03T12:56:32.244" v="22298"/>
          <ac:picMkLst>
            <pc:docMk/>
            <pc:sldMk cId="3268956078" sldId="2145706669"/>
            <ac:picMk id="57" creationId="{F4CDAF5B-4398-41B2-9FA6-AAE387398436}"/>
          </ac:picMkLst>
        </pc:picChg>
        <pc:picChg chg="del mod">
          <ac:chgData name="Daniel Barnes" userId="b303a15ee67145ed" providerId="LiveId" clId="{4A5A1811-DFF2-43F5-A7A7-22A66EF04CEB}" dt="2022-03-13T21:55:24.872" v="3432" actId="478"/>
          <ac:picMkLst>
            <pc:docMk/>
            <pc:sldMk cId="3268956078" sldId="2145706669"/>
            <ac:picMk id="60" creationId="{42F9AD93-57AB-46A9-B0B2-B90AA8E6FE98}"/>
          </ac:picMkLst>
        </pc:picChg>
        <pc:picChg chg="mod">
          <ac:chgData name="Daniel Barnes" userId="b303a15ee67145ed" providerId="LiveId" clId="{4A5A1811-DFF2-43F5-A7A7-22A66EF04CEB}" dt="2022-04-03T12:56:38.934" v="22302"/>
          <ac:picMkLst>
            <pc:docMk/>
            <pc:sldMk cId="3268956078" sldId="2145706669"/>
            <ac:picMk id="60" creationId="{9C12B1A5-3978-4376-A16C-22075A7FB133}"/>
          </ac:picMkLst>
        </pc:picChg>
        <pc:picChg chg="mod">
          <ac:chgData name="Daniel Barnes" userId="b303a15ee67145ed" providerId="LiveId" clId="{4A5A1811-DFF2-43F5-A7A7-22A66EF04CEB}" dt="2022-04-03T12:56:38.934" v="22302"/>
          <ac:picMkLst>
            <pc:docMk/>
            <pc:sldMk cId="3268956078" sldId="2145706669"/>
            <ac:picMk id="61" creationId="{408D8216-4839-4D63-860A-C15552D9CEF1}"/>
          </ac:picMkLst>
        </pc:picChg>
        <pc:picChg chg="del mod topLvl">
          <ac:chgData name="Daniel Barnes" userId="b303a15ee67145ed" providerId="LiveId" clId="{4A5A1811-DFF2-43F5-A7A7-22A66EF04CEB}" dt="2022-03-13T21:55:25.975" v="3433" actId="478"/>
          <ac:picMkLst>
            <pc:docMk/>
            <pc:sldMk cId="3268956078" sldId="2145706669"/>
            <ac:picMk id="61" creationId="{5062BACE-4AFF-498F-964D-010A9A7EC092}"/>
          </ac:picMkLst>
        </pc:picChg>
        <pc:picChg chg="del mod">
          <ac:chgData name="Daniel Barnes" userId="b303a15ee67145ed" providerId="LiveId" clId="{4A5A1811-DFF2-43F5-A7A7-22A66EF04CEB}" dt="2022-03-13T21:55:22.103" v="3429" actId="478"/>
          <ac:picMkLst>
            <pc:docMk/>
            <pc:sldMk cId="3268956078" sldId="2145706669"/>
            <ac:picMk id="62" creationId="{D4882A01-7CFB-41B1-B628-549F4C6534AA}"/>
          </ac:picMkLst>
        </pc:picChg>
      </pc:sldChg>
      <pc:sldChg chg="addSp delSp modSp add mod">
        <pc:chgData name="Daniel Barnes" userId="b303a15ee67145ed" providerId="LiveId" clId="{4A5A1811-DFF2-43F5-A7A7-22A66EF04CEB}" dt="2022-04-03T11:13:40.653" v="21073" actId="20578"/>
        <pc:sldMkLst>
          <pc:docMk/>
          <pc:sldMk cId="575714516" sldId="2145706670"/>
        </pc:sldMkLst>
        <pc:spChg chg="mod">
          <ac:chgData name="Daniel Barnes" userId="b303a15ee67145ed" providerId="LiveId" clId="{4A5A1811-DFF2-43F5-A7A7-22A66EF04CEB}" dt="2022-03-13T22:38:56.846" v="4040" actId="20577"/>
          <ac:spMkLst>
            <pc:docMk/>
            <pc:sldMk cId="575714516" sldId="2145706670"/>
            <ac:spMk id="2" creationId="{0107FA66-646B-42C0-A453-9C2949F7188C}"/>
          </ac:spMkLst>
        </pc:spChg>
        <pc:spChg chg="add del mod">
          <ac:chgData name="Daniel Barnes" userId="b303a15ee67145ed" providerId="LiveId" clId="{4A5A1811-DFF2-43F5-A7A7-22A66EF04CEB}" dt="2022-04-03T10:12:45.111" v="19975" actId="478"/>
          <ac:spMkLst>
            <pc:docMk/>
            <pc:sldMk cId="575714516" sldId="2145706670"/>
            <ac:spMk id="3" creationId="{E6EB4016-53BF-47E2-8C18-4CAA9DE4C1F2}"/>
          </ac:spMkLst>
        </pc:spChg>
        <pc:spChg chg="add del mod">
          <ac:chgData name="Daniel Barnes" userId="b303a15ee67145ed" providerId="LiveId" clId="{4A5A1811-DFF2-43F5-A7A7-22A66EF04CEB}" dt="2022-04-03T10:04:48.768" v="19555" actId="478"/>
          <ac:spMkLst>
            <pc:docMk/>
            <pc:sldMk cId="575714516" sldId="2145706670"/>
            <ac:spMk id="6" creationId="{B5612A2A-C2CE-4F49-8B2E-B4ECDE0BCBB6}"/>
          </ac:spMkLst>
        </pc:spChg>
        <pc:spChg chg="add mod topLvl">
          <ac:chgData name="Daniel Barnes" userId="b303a15ee67145ed" providerId="LiveId" clId="{4A5A1811-DFF2-43F5-A7A7-22A66EF04CEB}" dt="2022-04-03T10:43:19.319" v="21034" actId="242"/>
          <ac:spMkLst>
            <pc:docMk/>
            <pc:sldMk cId="575714516" sldId="2145706670"/>
            <ac:spMk id="7" creationId="{E19E86AD-4F22-44EB-985C-3492E63D0619}"/>
          </ac:spMkLst>
        </pc:spChg>
        <pc:spChg chg="add mod topLvl">
          <ac:chgData name="Daniel Barnes" userId="b303a15ee67145ed" providerId="LiveId" clId="{4A5A1811-DFF2-43F5-A7A7-22A66EF04CEB}" dt="2022-04-03T11:13:40.653" v="21073" actId="20578"/>
          <ac:spMkLst>
            <pc:docMk/>
            <pc:sldMk cId="575714516" sldId="2145706670"/>
            <ac:spMk id="8" creationId="{074DE6FD-8B6A-4808-8CE8-E36BFA77926E}"/>
          </ac:spMkLst>
        </pc:spChg>
        <pc:spChg chg="add mod topLvl">
          <ac:chgData name="Daniel Barnes" userId="b303a15ee67145ed" providerId="LiveId" clId="{4A5A1811-DFF2-43F5-A7A7-22A66EF04CEB}" dt="2022-04-03T10:43:22.004" v="21035" actId="242"/>
          <ac:spMkLst>
            <pc:docMk/>
            <pc:sldMk cId="575714516" sldId="2145706670"/>
            <ac:spMk id="9" creationId="{17A875CC-EF90-42D3-815E-2E756F4098E1}"/>
          </ac:spMkLst>
        </pc:spChg>
        <pc:spChg chg="add mod topLvl">
          <ac:chgData name="Daniel Barnes" userId="b303a15ee67145ed" providerId="LiveId" clId="{4A5A1811-DFF2-43F5-A7A7-22A66EF04CEB}" dt="2022-04-03T10:42:44.445" v="21031" actId="165"/>
          <ac:spMkLst>
            <pc:docMk/>
            <pc:sldMk cId="575714516" sldId="2145706670"/>
            <ac:spMk id="10" creationId="{250B2867-39C2-445A-993F-32EE99985034}"/>
          </ac:spMkLst>
        </pc:spChg>
        <pc:spChg chg="add mod topLvl">
          <ac:chgData name="Daniel Barnes" userId="b303a15ee67145ed" providerId="LiveId" clId="{4A5A1811-DFF2-43F5-A7A7-22A66EF04CEB}" dt="2022-04-03T10:43:06.268" v="21033" actId="12789"/>
          <ac:spMkLst>
            <pc:docMk/>
            <pc:sldMk cId="575714516" sldId="2145706670"/>
            <ac:spMk id="11" creationId="{EDEF60D0-E34D-4BF2-91AF-AA41945706AD}"/>
          </ac:spMkLst>
        </pc:spChg>
        <pc:spChg chg="add mod topLvl">
          <ac:chgData name="Daniel Barnes" userId="b303a15ee67145ed" providerId="LiveId" clId="{4A5A1811-DFF2-43F5-A7A7-22A66EF04CEB}" dt="2022-04-03T10:42:44.445" v="21031" actId="165"/>
          <ac:spMkLst>
            <pc:docMk/>
            <pc:sldMk cId="575714516" sldId="2145706670"/>
            <ac:spMk id="12" creationId="{416AF34B-A4D3-4B3C-BE8E-3FDD87E7BFDB}"/>
          </ac:spMkLst>
        </pc:spChg>
        <pc:spChg chg="add del">
          <ac:chgData name="Daniel Barnes" userId="b303a15ee67145ed" providerId="LiveId" clId="{4A5A1811-DFF2-43F5-A7A7-22A66EF04CEB}" dt="2022-04-03T10:06:37.153" v="19700" actId="22"/>
          <ac:spMkLst>
            <pc:docMk/>
            <pc:sldMk cId="575714516" sldId="2145706670"/>
            <ac:spMk id="14" creationId="{56F1B156-C51E-407B-8071-B5BEBA133133}"/>
          </ac:spMkLst>
        </pc:spChg>
        <pc:spChg chg="add mod">
          <ac:chgData name="Daniel Barnes" userId="b303a15ee67145ed" providerId="LiveId" clId="{4A5A1811-DFF2-43F5-A7A7-22A66EF04CEB}" dt="2022-04-03T10:43:06.268" v="21033" actId="12789"/>
          <ac:spMkLst>
            <pc:docMk/>
            <pc:sldMk cId="575714516" sldId="2145706670"/>
            <ac:spMk id="15" creationId="{65F135F2-FAEB-4ADF-8D3D-120DEB6BD95C}"/>
          </ac:spMkLst>
        </pc:spChg>
        <pc:spChg chg="add mod">
          <ac:chgData name="Daniel Barnes" userId="b303a15ee67145ed" providerId="LiveId" clId="{4A5A1811-DFF2-43F5-A7A7-22A66EF04CEB}" dt="2022-04-03T10:43:06.268" v="21033" actId="12789"/>
          <ac:spMkLst>
            <pc:docMk/>
            <pc:sldMk cId="575714516" sldId="2145706670"/>
            <ac:spMk id="16" creationId="{6E840AD5-887F-4118-870B-DC12633121B8}"/>
          </ac:spMkLst>
        </pc:spChg>
        <pc:spChg chg="add mod ord">
          <ac:chgData name="Daniel Barnes" userId="b303a15ee67145ed" providerId="LiveId" clId="{4A5A1811-DFF2-43F5-A7A7-22A66EF04CEB}" dt="2022-04-03T10:11:21.442" v="19965" actId="6549"/>
          <ac:spMkLst>
            <pc:docMk/>
            <pc:sldMk cId="575714516" sldId="2145706670"/>
            <ac:spMk id="17" creationId="{E0987DCC-17D6-4908-99E6-7D8B3662B1B4}"/>
          </ac:spMkLst>
        </pc:spChg>
        <pc:spChg chg="add del mod">
          <ac:chgData name="Daniel Barnes" userId="b303a15ee67145ed" providerId="LiveId" clId="{4A5A1811-DFF2-43F5-A7A7-22A66EF04CEB}" dt="2022-04-03T10:12:50.073" v="19976" actId="478"/>
          <ac:spMkLst>
            <pc:docMk/>
            <pc:sldMk cId="575714516" sldId="2145706670"/>
            <ac:spMk id="20" creationId="{EDB16E92-3991-4762-9C79-20FF0A0A25DB}"/>
          </ac:spMkLst>
        </pc:spChg>
        <pc:spChg chg="mod">
          <ac:chgData name="Daniel Barnes" userId="b303a15ee67145ed" providerId="LiveId" clId="{4A5A1811-DFF2-43F5-A7A7-22A66EF04CEB}" dt="2022-04-03T10:32:43.446" v="20840" actId="164"/>
          <ac:spMkLst>
            <pc:docMk/>
            <pc:sldMk cId="575714516" sldId="2145706670"/>
            <ac:spMk id="24" creationId="{07D883C1-464F-4C67-B17F-FD5247B4E829}"/>
          </ac:spMkLst>
        </pc:spChg>
        <pc:spChg chg="mod">
          <ac:chgData name="Daniel Barnes" userId="b303a15ee67145ed" providerId="LiveId" clId="{4A5A1811-DFF2-43F5-A7A7-22A66EF04CEB}" dt="2022-04-03T10:32:43.446" v="20840" actId="164"/>
          <ac:spMkLst>
            <pc:docMk/>
            <pc:sldMk cId="575714516" sldId="2145706670"/>
            <ac:spMk id="25" creationId="{4C6B533D-FB98-45EA-AD25-C054F782A646}"/>
          </ac:spMkLst>
        </pc:spChg>
        <pc:spChg chg="mod">
          <ac:chgData name="Daniel Barnes" userId="b303a15ee67145ed" providerId="LiveId" clId="{4A5A1811-DFF2-43F5-A7A7-22A66EF04CEB}" dt="2022-04-03T10:32:43.446" v="20840" actId="164"/>
          <ac:spMkLst>
            <pc:docMk/>
            <pc:sldMk cId="575714516" sldId="2145706670"/>
            <ac:spMk id="26" creationId="{FEFDD900-2DAA-4B04-97DB-7AA2D5D34562}"/>
          </ac:spMkLst>
        </pc:spChg>
        <pc:spChg chg="mod">
          <ac:chgData name="Daniel Barnes" userId="b303a15ee67145ed" providerId="LiveId" clId="{4A5A1811-DFF2-43F5-A7A7-22A66EF04CEB}" dt="2022-04-03T10:32:43.446" v="20840" actId="164"/>
          <ac:spMkLst>
            <pc:docMk/>
            <pc:sldMk cId="575714516" sldId="2145706670"/>
            <ac:spMk id="27" creationId="{32E91955-5656-4290-A2B5-2129F205A14E}"/>
          </ac:spMkLst>
        </pc:spChg>
        <pc:spChg chg="mod">
          <ac:chgData name="Daniel Barnes" userId="b303a15ee67145ed" providerId="LiveId" clId="{4A5A1811-DFF2-43F5-A7A7-22A66EF04CEB}" dt="2022-04-03T10:32:43.446" v="20840" actId="164"/>
          <ac:spMkLst>
            <pc:docMk/>
            <pc:sldMk cId="575714516" sldId="2145706670"/>
            <ac:spMk id="28" creationId="{B8EBE2BC-5CA9-4209-AADE-286EB67F83F2}"/>
          </ac:spMkLst>
        </pc:spChg>
        <pc:spChg chg="mod">
          <ac:chgData name="Daniel Barnes" userId="b303a15ee67145ed" providerId="LiveId" clId="{4A5A1811-DFF2-43F5-A7A7-22A66EF04CEB}" dt="2022-04-03T10:32:43.446" v="20840" actId="164"/>
          <ac:spMkLst>
            <pc:docMk/>
            <pc:sldMk cId="575714516" sldId="2145706670"/>
            <ac:spMk id="29" creationId="{A41A1497-BE6F-478E-9A75-7701F69443A1}"/>
          </ac:spMkLst>
        </pc:spChg>
        <pc:spChg chg="mod">
          <ac:chgData name="Daniel Barnes" userId="b303a15ee67145ed" providerId="LiveId" clId="{4A5A1811-DFF2-43F5-A7A7-22A66EF04CEB}" dt="2022-04-03T10:43:06.268" v="21033" actId="12789"/>
          <ac:spMkLst>
            <pc:docMk/>
            <pc:sldMk cId="575714516" sldId="2145706670"/>
            <ac:spMk id="33" creationId="{CCC33B09-9283-4AA2-B86E-82F36479DE2E}"/>
          </ac:spMkLst>
        </pc:spChg>
        <pc:spChg chg="mod">
          <ac:chgData name="Daniel Barnes" userId="b303a15ee67145ed" providerId="LiveId" clId="{4A5A1811-DFF2-43F5-A7A7-22A66EF04CEB}" dt="2022-04-03T10:36:35.631" v="20894" actId="207"/>
          <ac:spMkLst>
            <pc:docMk/>
            <pc:sldMk cId="575714516" sldId="2145706670"/>
            <ac:spMk id="37" creationId="{6E1C6504-1A1C-4808-89E7-A1415B71F972}"/>
          </ac:spMkLst>
        </pc:spChg>
        <pc:spChg chg="mod">
          <ac:chgData name="Daniel Barnes" userId="b303a15ee67145ed" providerId="LiveId" clId="{4A5A1811-DFF2-43F5-A7A7-22A66EF04CEB}" dt="2022-04-03T10:41:05.729" v="21006" actId="14100"/>
          <ac:spMkLst>
            <pc:docMk/>
            <pc:sldMk cId="575714516" sldId="2145706670"/>
            <ac:spMk id="38" creationId="{78737F48-4961-4CEE-9BF3-B2C24547F4AD}"/>
          </ac:spMkLst>
        </pc:spChg>
        <pc:grpChg chg="add del mod">
          <ac:chgData name="Daniel Barnes" userId="b303a15ee67145ed" providerId="LiveId" clId="{4A5A1811-DFF2-43F5-A7A7-22A66EF04CEB}" dt="2022-04-03T10:42:44.445" v="21031" actId="165"/>
          <ac:grpSpMkLst>
            <pc:docMk/>
            <pc:sldMk cId="575714516" sldId="2145706670"/>
            <ac:grpSpMk id="18" creationId="{69B0D981-95E6-4F8A-9F83-374DE8468F8A}"/>
          </ac:grpSpMkLst>
        </pc:grpChg>
        <pc:grpChg chg="del mod">
          <ac:chgData name="Daniel Barnes" userId="b303a15ee67145ed" providerId="LiveId" clId="{4A5A1811-DFF2-43F5-A7A7-22A66EF04CEB}" dt="2022-04-03T10:31:56.183" v="20836" actId="27803"/>
          <ac:grpSpMkLst>
            <pc:docMk/>
            <pc:sldMk cId="575714516" sldId="2145706670"/>
            <ac:grpSpMk id="23" creationId="{09C2A7E3-BB94-45CB-95FF-C8872748C48E}"/>
          </ac:grpSpMkLst>
        </pc:grpChg>
        <pc:grpChg chg="add del mod">
          <ac:chgData name="Daniel Barnes" userId="b303a15ee67145ed" providerId="LiveId" clId="{4A5A1811-DFF2-43F5-A7A7-22A66EF04CEB}" dt="2022-04-03T10:43:06.268" v="21033" actId="12789"/>
          <ac:grpSpMkLst>
            <pc:docMk/>
            <pc:sldMk cId="575714516" sldId="2145706670"/>
            <ac:grpSpMk id="30" creationId="{6099DD02-F20F-411A-AA6B-19855569220E}"/>
          </ac:grpSpMkLst>
        </pc:grpChg>
        <pc:grpChg chg="mod">
          <ac:chgData name="Daniel Barnes" userId="b303a15ee67145ed" providerId="LiveId" clId="{4A5A1811-DFF2-43F5-A7A7-22A66EF04CEB}" dt="2022-04-03T10:43:33.682" v="21036" actId="1076"/>
          <ac:grpSpMkLst>
            <pc:docMk/>
            <pc:sldMk cId="575714516" sldId="2145706670"/>
            <ac:grpSpMk id="36" creationId="{072446BE-97CC-4B96-BD1A-C57DDAD7EFF2}"/>
          </ac:grpSpMkLst>
        </pc:grpChg>
        <pc:picChg chg="add del mod">
          <ac:chgData name="Daniel Barnes" userId="b303a15ee67145ed" providerId="LiveId" clId="{4A5A1811-DFF2-43F5-A7A7-22A66EF04CEB}" dt="2022-04-03T10:31:56.183" v="20836" actId="27803"/>
          <ac:picMkLst>
            <pc:docMk/>
            <pc:sldMk cId="575714516" sldId="2145706670"/>
            <ac:picMk id="22" creationId="{2164D801-44D1-4CF0-A0FF-53DD9779D0AC}"/>
          </ac:picMkLst>
        </pc:picChg>
        <pc:picChg chg="add del mod">
          <ac:chgData name="Daniel Barnes" userId="b303a15ee67145ed" providerId="LiveId" clId="{4A5A1811-DFF2-43F5-A7A7-22A66EF04CEB}" dt="2022-04-03T10:34:11.958" v="20857" actId="27803"/>
          <ac:picMkLst>
            <pc:docMk/>
            <pc:sldMk cId="575714516" sldId="2145706670"/>
            <ac:picMk id="32" creationId="{CCC33B09-9283-4AA2-B86E-82F36479DE2E}"/>
          </ac:picMkLst>
        </pc:picChg>
        <pc:picChg chg="add del mod">
          <ac:chgData name="Daniel Barnes" userId="b303a15ee67145ed" providerId="LiveId" clId="{4A5A1811-DFF2-43F5-A7A7-22A66EF04CEB}" dt="2022-04-03T10:36:30.946" v="20893" actId="27803"/>
          <ac:picMkLst>
            <pc:docMk/>
            <pc:sldMk cId="575714516" sldId="2145706670"/>
            <ac:picMk id="35" creationId="{AB9D87D6-786D-48AE-8927-838B36EE0C6C}"/>
          </ac:picMkLst>
        </pc:picChg>
      </pc:sldChg>
      <pc:sldChg chg="delSp modSp add del mod ord">
        <pc:chgData name="Daniel Barnes" userId="b303a15ee67145ed" providerId="LiveId" clId="{4A5A1811-DFF2-43F5-A7A7-22A66EF04CEB}" dt="2022-04-02T21:26:25.210" v="19548" actId="47"/>
        <pc:sldMkLst>
          <pc:docMk/>
          <pc:sldMk cId="2760681450" sldId="2145706671"/>
        </pc:sldMkLst>
        <pc:spChg chg="mod">
          <ac:chgData name="Daniel Barnes" userId="b303a15ee67145ed" providerId="LiveId" clId="{4A5A1811-DFF2-43F5-A7A7-22A66EF04CEB}" dt="2022-03-13T22:40:26.101" v="4086" actId="20577"/>
          <ac:spMkLst>
            <pc:docMk/>
            <pc:sldMk cId="2760681450" sldId="2145706671"/>
            <ac:spMk id="2" creationId="{0107FA66-646B-42C0-A453-9C2949F7188C}"/>
          </ac:spMkLst>
        </pc:spChg>
        <pc:spChg chg="mod">
          <ac:chgData name="Daniel Barnes" userId="b303a15ee67145ed" providerId="LiveId" clId="{4A5A1811-DFF2-43F5-A7A7-22A66EF04CEB}" dt="2022-03-13T22:40:29.181" v="4087" actId="21"/>
          <ac:spMkLst>
            <pc:docMk/>
            <pc:sldMk cId="2760681450" sldId="2145706671"/>
            <ac:spMk id="3" creationId="{E6EB4016-53BF-47E2-8C18-4CAA9DE4C1F2}"/>
          </ac:spMkLst>
        </pc:spChg>
        <pc:spChg chg="del">
          <ac:chgData name="Daniel Barnes" userId="b303a15ee67145ed" providerId="LiveId" clId="{4A5A1811-DFF2-43F5-A7A7-22A66EF04CEB}" dt="2022-03-13T22:40:37.436" v="4089" actId="478"/>
          <ac:spMkLst>
            <pc:docMk/>
            <pc:sldMk cId="2760681450" sldId="2145706671"/>
            <ac:spMk id="4" creationId="{03B143B8-C817-4278-823F-5EC99DE45B22}"/>
          </ac:spMkLst>
        </pc:spChg>
      </pc:sldChg>
      <pc:sldChg chg="delSp modSp add del mod">
        <pc:chgData name="Daniel Barnes" userId="b303a15ee67145ed" providerId="LiveId" clId="{4A5A1811-DFF2-43F5-A7A7-22A66EF04CEB}" dt="2022-04-02T21:26:25.993" v="19549" actId="47"/>
        <pc:sldMkLst>
          <pc:docMk/>
          <pc:sldMk cId="916495278" sldId="2145706672"/>
        </pc:sldMkLst>
        <pc:spChg chg="mod">
          <ac:chgData name="Daniel Barnes" userId="b303a15ee67145ed" providerId="LiveId" clId="{4A5A1811-DFF2-43F5-A7A7-22A66EF04CEB}" dt="2022-03-13T22:41:02.888" v="4098"/>
          <ac:spMkLst>
            <pc:docMk/>
            <pc:sldMk cId="916495278" sldId="2145706672"/>
            <ac:spMk id="2" creationId="{0107FA66-646B-42C0-A453-9C2949F7188C}"/>
          </ac:spMkLst>
        </pc:spChg>
        <pc:spChg chg="mod">
          <ac:chgData name="Daniel Barnes" userId="b303a15ee67145ed" providerId="LiveId" clId="{4A5A1811-DFF2-43F5-A7A7-22A66EF04CEB}" dt="2022-03-13T22:41:04.816" v="4099" actId="21"/>
          <ac:spMkLst>
            <pc:docMk/>
            <pc:sldMk cId="916495278" sldId="2145706672"/>
            <ac:spMk id="3" creationId="{E6EB4016-53BF-47E2-8C18-4CAA9DE4C1F2}"/>
          </ac:spMkLst>
        </pc:spChg>
        <pc:spChg chg="del">
          <ac:chgData name="Daniel Barnes" userId="b303a15ee67145ed" providerId="LiveId" clId="{4A5A1811-DFF2-43F5-A7A7-22A66EF04CEB}" dt="2022-03-13T22:40:39.428" v="4090" actId="478"/>
          <ac:spMkLst>
            <pc:docMk/>
            <pc:sldMk cId="916495278" sldId="2145706672"/>
            <ac:spMk id="4" creationId="{03B143B8-C817-4278-823F-5EC99DE45B22}"/>
          </ac:spMkLst>
        </pc:spChg>
      </pc:sldChg>
      <pc:sldChg chg="modSp add del mod">
        <pc:chgData name="Daniel Barnes" userId="b303a15ee67145ed" providerId="LiveId" clId="{4A5A1811-DFF2-43F5-A7A7-22A66EF04CEB}" dt="2022-04-02T21:26:23.904" v="19547" actId="47"/>
        <pc:sldMkLst>
          <pc:docMk/>
          <pc:sldMk cId="3051642975" sldId="2145706673"/>
        </pc:sldMkLst>
        <pc:spChg chg="mod">
          <ac:chgData name="Daniel Barnes" userId="b303a15ee67145ed" providerId="LiveId" clId="{4A5A1811-DFF2-43F5-A7A7-22A66EF04CEB}" dt="2022-03-13T23:07:34.484" v="4753" actId="6549"/>
          <ac:spMkLst>
            <pc:docMk/>
            <pc:sldMk cId="3051642975" sldId="2145706673"/>
            <ac:spMk id="2" creationId="{0107FA66-646B-42C0-A453-9C2949F7188C}"/>
          </ac:spMkLst>
        </pc:spChg>
        <pc:spChg chg="mod">
          <ac:chgData name="Daniel Barnes" userId="b303a15ee67145ed" providerId="LiveId" clId="{4A5A1811-DFF2-43F5-A7A7-22A66EF04CEB}" dt="2022-03-13T22:41:17.512" v="4103"/>
          <ac:spMkLst>
            <pc:docMk/>
            <pc:sldMk cId="3051642975" sldId="2145706673"/>
            <ac:spMk id="3" creationId="{E6EB4016-53BF-47E2-8C18-4CAA9DE4C1F2}"/>
          </ac:spMkLst>
        </pc:spChg>
      </pc:sldChg>
      <pc:sldChg chg="addSp delSp modSp add mod ord">
        <pc:chgData name="Daniel Barnes" userId="b303a15ee67145ed" providerId="LiveId" clId="{4A5A1811-DFF2-43F5-A7A7-22A66EF04CEB}" dt="2022-04-02T21:26:56.392" v="19551"/>
        <pc:sldMkLst>
          <pc:docMk/>
          <pc:sldMk cId="1376817971" sldId="2145706674"/>
        </pc:sldMkLst>
        <pc:spChg chg="mod">
          <ac:chgData name="Daniel Barnes" userId="b303a15ee67145ed" providerId="LiveId" clId="{4A5A1811-DFF2-43F5-A7A7-22A66EF04CEB}" dt="2022-03-21T21:55:32.783" v="6707" actId="20577"/>
          <ac:spMkLst>
            <pc:docMk/>
            <pc:sldMk cId="1376817971" sldId="2145706674"/>
            <ac:spMk id="2" creationId="{0107FA66-646B-42C0-A453-9C2949F7188C}"/>
          </ac:spMkLst>
        </pc:spChg>
        <pc:spChg chg="mod">
          <ac:chgData name="Daniel Barnes" userId="b303a15ee67145ed" providerId="LiveId" clId="{4A5A1811-DFF2-43F5-A7A7-22A66EF04CEB}" dt="2022-03-21T22:36:54.335" v="9565" actId="20577"/>
          <ac:spMkLst>
            <pc:docMk/>
            <pc:sldMk cId="1376817971" sldId="2145706674"/>
            <ac:spMk id="3" creationId="{E6EB4016-53BF-47E2-8C18-4CAA9DE4C1F2}"/>
          </ac:spMkLst>
        </pc:spChg>
        <pc:picChg chg="add del mod">
          <ac:chgData name="Daniel Barnes" userId="b303a15ee67145ed" providerId="LiveId" clId="{4A5A1811-DFF2-43F5-A7A7-22A66EF04CEB}" dt="2022-03-21T21:51:13.988" v="6673" actId="478"/>
          <ac:picMkLst>
            <pc:docMk/>
            <pc:sldMk cId="1376817971" sldId="2145706674"/>
            <ac:picMk id="5" creationId="{AE9A340B-F21D-4633-A228-2B5D18100606}"/>
          </ac:picMkLst>
        </pc:picChg>
        <pc:picChg chg="add mod">
          <ac:chgData name="Daniel Barnes" userId="b303a15ee67145ed" providerId="LiveId" clId="{4A5A1811-DFF2-43F5-A7A7-22A66EF04CEB}" dt="2022-04-02T20:33:13.289" v="18664" actId="14100"/>
          <ac:picMkLst>
            <pc:docMk/>
            <pc:sldMk cId="1376817971" sldId="2145706674"/>
            <ac:picMk id="7" creationId="{5C6B8411-6279-4942-BECF-0E7DE08039A5}"/>
          </ac:picMkLst>
        </pc:picChg>
      </pc:sldChg>
      <pc:sldChg chg="addSp modSp add mod ord">
        <pc:chgData name="Daniel Barnes" userId="b303a15ee67145ed" providerId="LiveId" clId="{4A5A1811-DFF2-43F5-A7A7-22A66EF04CEB}" dt="2022-04-03T12:30:27.783" v="22000" actId="6549"/>
        <pc:sldMkLst>
          <pc:docMk/>
          <pc:sldMk cId="2664890310" sldId="2145706675"/>
        </pc:sldMkLst>
        <pc:spChg chg="mod">
          <ac:chgData name="Daniel Barnes" userId="b303a15ee67145ed" providerId="LiveId" clId="{4A5A1811-DFF2-43F5-A7A7-22A66EF04CEB}" dt="2022-03-21T21:59:46.055" v="7024" actId="20577"/>
          <ac:spMkLst>
            <pc:docMk/>
            <pc:sldMk cId="2664890310" sldId="2145706675"/>
            <ac:spMk id="2" creationId="{0107FA66-646B-42C0-A453-9C2949F7188C}"/>
          </ac:spMkLst>
        </pc:spChg>
        <pc:spChg chg="mod">
          <ac:chgData name="Daniel Barnes" userId="b303a15ee67145ed" providerId="LiveId" clId="{4A5A1811-DFF2-43F5-A7A7-22A66EF04CEB}" dt="2022-04-03T12:30:27.783" v="22000" actId="6549"/>
          <ac:spMkLst>
            <pc:docMk/>
            <pc:sldMk cId="2664890310" sldId="2145706675"/>
            <ac:spMk id="3" creationId="{E6EB4016-53BF-47E2-8C18-4CAA9DE4C1F2}"/>
          </ac:spMkLst>
        </pc:spChg>
        <pc:picChg chg="add mod">
          <ac:chgData name="Daniel Barnes" userId="b303a15ee67145ed" providerId="LiveId" clId="{4A5A1811-DFF2-43F5-A7A7-22A66EF04CEB}" dt="2022-04-02T20:32:48.765" v="18661" actId="14100"/>
          <ac:picMkLst>
            <pc:docMk/>
            <pc:sldMk cId="2664890310" sldId="2145706675"/>
            <ac:picMk id="5" creationId="{55169FBA-5246-41EB-B939-86215F8A6EB7}"/>
          </ac:picMkLst>
        </pc:picChg>
      </pc:sldChg>
      <pc:sldChg chg="addSp modSp add mod ord">
        <pc:chgData name="Daniel Barnes" userId="b303a15ee67145ed" providerId="LiveId" clId="{4A5A1811-DFF2-43F5-A7A7-22A66EF04CEB}" dt="2022-04-02T21:26:56.392" v="19551"/>
        <pc:sldMkLst>
          <pc:docMk/>
          <pc:sldMk cId="82766872" sldId="2145706676"/>
        </pc:sldMkLst>
        <pc:spChg chg="mod">
          <ac:chgData name="Daniel Barnes" userId="b303a15ee67145ed" providerId="LiveId" clId="{4A5A1811-DFF2-43F5-A7A7-22A66EF04CEB}" dt="2022-03-13T22:55:23.618" v="4444" actId="6549"/>
          <ac:spMkLst>
            <pc:docMk/>
            <pc:sldMk cId="82766872" sldId="2145706676"/>
            <ac:spMk id="2" creationId="{0107FA66-646B-42C0-A453-9C2949F7188C}"/>
          </ac:spMkLst>
        </pc:spChg>
        <pc:spChg chg="mod">
          <ac:chgData name="Daniel Barnes" userId="b303a15ee67145ed" providerId="LiveId" clId="{4A5A1811-DFF2-43F5-A7A7-22A66EF04CEB}" dt="2022-03-21T22:23:11.389" v="8282" actId="20577"/>
          <ac:spMkLst>
            <pc:docMk/>
            <pc:sldMk cId="82766872" sldId="2145706676"/>
            <ac:spMk id="3" creationId="{E6EB4016-53BF-47E2-8C18-4CAA9DE4C1F2}"/>
          </ac:spMkLst>
        </pc:spChg>
        <pc:picChg chg="add mod">
          <ac:chgData name="Daniel Barnes" userId="b303a15ee67145ed" providerId="LiveId" clId="{4A5A1811-DFF2-43F5-A7A7-22A66EF04CEB}" dt="2022-04-02T20:33:22.889" v="18666" actId="14100"/>
          <ac:picMkLst>
            <pc:docMk/>
            <pc:sldMk cId="82766872" sldId="2145706676"/>
            <ac:picMk id="5" creationId="{E3DB5035-D572-425E-90E8-DECB9D02F39E}"/>
          </ac:picMkLst>
        </pc:picChg>
      </pc:sldChg>
      <pc:sldChg chg="addSp modSp add mod ord">
        <pc:chgData name="Daniel Barnes" userId="b303a15ee67145ed" providerId="LiveId" clId="{4A5A1811-DFF2-43F5-A7A7-22A66EF04CEB}" dt="2022-04-02T21:26:56.392" v="19551"/>
        <pc:sldMkLst>
          <pc:docMk/>
          <pc:sldMk cId="2702910666" sldId="2145706677"/>
        </pc:sldMkLst>
        <pc:spChg chg="mod">
          <ac:chgData name="Daniel Barnes" userId="b303a15ee67145ed" providerId="LiveId" clId="{4A5A1811-DFF2-43F5-A7A7-22A66EF04CEB}" dt="2022-03-21T22:14:49.950" v="7864" actId="20577"/>
          <ac:spMkLst>
            <pc:docMk/>
            <pc:sldMk cId="2702910666" sldId="2145706677"/>
            <ac:spMk id="2" creationId="{0107FA66-646B-42C0-A453-9C2949F7188C}"/>
          </ac:spMkLst>
        </pc:spChg>
        <pc:spChg chg="mod">
          <ac:chgData name="Daniel Barnes" userId="b303a15ee67145ed" providerId="LiveId" clId="{4A5A1811-DFF2-43F5-A7A7-22A66EF04CEB}" dt="2022-04-02T20:33:52.652" v="18670" actId="14100"/>
          <ac:spMkLst>
            <pc:docMk/>
            <pc:sldMk cId="2702910666" sldId="2145706677"/>
            <ac:spMk id="3" creationId="{E6EB4016-53BF-47E2-8C18-4CAA9DE4C1F2}"/>
          </ac:spMkLst>
        </pc:spChg>
        <pc:picChg chg="add mod">
          <ac:chgData name="Daniel Barnes" userId="b303a15ee67145ed" providerId="LiveId" clId="{4A5A1811-DFF2-43F5-A7A7-22A66EF04CEB}" dt="2022-04-02T20:33:32.427" v="18667" actId="14100"/>
          <ac:picMkLst>
            <pc:docMk/>
            <pc:sldMk cId="2702910666" sldId="2145706677"/>
            <ac:picMk id="5" creationId="{D7DE6A59-7FE8-4904-BC04-04086A45EBB8}"/>
          </ac:picMkLst>
        </pc:picChg>
      </pc:sldChg>
      <pc:sldChg chg="addSp modSp add mod ord">
        <pc:chgData name="Daniel Barnes" userId="b303a15ee67145ed" providerId="LiveId" clId="{4A5A1811-DFF2-43F5-A7A7-22A66EF04CEB}" dt="2022-04-02T21:26:56.392" v="19551"/>
        <pc:sldMkLst>
          <pc:docMk/>
          <pc:sldMk cId="4233032811" sldId="2145706678"/>
        </pc:sldMkLst>
        <pc:spChg chg="mod">
          <ac:chgData name="Daniel Barnes" userId="b303a15ee67145ed" providerId="LiveId" clId="{4A5A1811-DFF2-43F5-A7A7-22A66EF04CEB}" dt="2022-03-13T22:55:47.061" v="4450" actId="207"/>
          <ac:spMkLst>
            <pc:docMk/>
            <pc:sldMk cId="4233032811" sldId="2145706678"/>
            <ac:spMk id="2" creationId="{0107FA66-646B-42C0-A453-9C2949F7188C}"/>
          </ac:spMkLst>
        </pc:spChg>
        <pc:spChg chg="mod">
          <ac:chgData name="Daniel Barnes" userId="b303a15ee67145ed" providerId="LiveId" clId="{4A5A1811-DFF2-43F5-A7A7-22A66EF04CEB}" dt="2022-03-21T22:43:19.316" v="10101" actId="20577"/>
          <ac:spMkLst>
            <pc:docMk/>
            <pc:sldMk cId="4233032811" sldId="2145706678"/>
            <ac:spMk id="3" creationId="{E6EB4016-53BF-47E2-8C18-4CAA9DE4C1F2}"/>
          </ac:spMkLst>
        </pc:spChg>
        <pc:picChg chg="add mod">
          <ac:chgData name="Daniel Barnes" userId="b303a15ee67145ed" providerId="LiveId" clId="{4A5A1811-DFF2-43F5-A7A7-22A66EF04CEB}" dt="2022-04-02T20:34:12.668" v="18672" actId="14100"/>
          <ac:picMkLst>
            <pc:docMk/>
            <pc:sldMk cId="4233032811" sldId="2145706678"/>
            <ac:picMk id="5" creationId="{74B0CCA0-DFEF-4B88-9E2F-5F59C2C95C7E}"/>
          </ac:picMkLst>
        </pc:picChg>
      </pc:sldChg>
      <pc:sldChg chg="addSp delSp modSp add mod ord">
        <pc:chgData name="Daniel Barnes" userId="b303a15ee67145ed" providerId="LiveId" clId="{4A5A1811-DFF2-43F5-A7A7-22A66EF04CEB}" dt="2022-04-03T12:49:26.499" v="22195" actId="108"/>
        <pc:sldMkLst>
          <pc:docMk/>
          <pc:sldMk cId="1928018817" sldId="2145706679"/>
        </pc:sldMkLst>
        <pc:spChg chg="mod">
          <ac:chgData name="Daniel Barnes" userId="b303a15ee67145ed" providerId="LiveId" clId="{4A5A1811-DFF2-43F5-A7A7-22A66EF04CEB}" dt="2022-03-13T22:56:13.682" v="4460" actId="6549"/>
          <ac:spMkLst>
            <pc:docMk/>
            <pc:sldMk cId="1928018817" sldId="2145706679"/>
            <ac:spMk id="2" creationId="{0107FA66-646B-42C0-A453-9C2949F7188C}"/>
          </ac:spMkLst>
        </pc:spChg>
        <pc:spChg chg="mod">
          <ac:chgData name="Daniel Barnes" userId="b303a15ee67145ed" providerId="LiveId" clId="{4A5A1811-DFF2-43F5-A7A7-22A66EF04CEB}" dt="2022-03-21T23:38:51.922" v="12627" actId="6549"/>
          <ac:spMkLst>
            <pc:docMk/>
            <pc:sldMk cId="1928018817" sldId="2145706679"/>
            <ac:spMk id="3" creationId="{E6EB4016-53BF-47E2-8C18-4CAA9DE4C1F2}"/>
          </ac:spMkLst>
        </pc:spChg>
        <pc:spChg chg="add del mod">
          <ac:chgData name="Daniel Barnes" userId="b303a15ee67145ed" providerId="LiveId" clId="{4A5A1811-DFF2-43F5-A7A7-22A66EF04CEB}" dt="2022-03-21T23:26:40.826" v="11841" actId="478"/>
          <ac:spMkLst>
            <pc:docMk/>
            <pc:sldMk cId="1928018817" sldId="2145706679"/>
            <ac:spMk id="8" creationId="{3BD789C9-0D6F-4023-B58D-D8BA8F49C088}"/>
          </ac:spMkLst>
        </pc:spChg>
        <pc:spChg chg="add del mod">
          <ac:chgData name="Daniel Barnes" userId="b303a15ee67145ed" providerId="LiveId" clId="{4A5A1811-DFF2-43F5-A7A7-22A66EF04CEB}" dt="2022-03-21T23:26:38.554" v="11840" actId="478"/>
          <ac:spMkLst>
            <pc:docMk/>
            <pc:sldMk cId="1928018817" sldId="2145706679"/>
            <ac:spMk id="10" creationId="{29909734-DA07-4D23-8677-820317DA5385}"/>
          </ac:spMkLst>
        </pc:spChg>
        <pc:spChg chg="add mod">
          <ac:chgData name="Daniel Barnes" userId="b303a15ee67145ed" providerId="LiveId" clId="{4A5A1811-DFF2-43F5-A7A7-22A66EF04CEB}" dt="2022-03-21T23:26:41.261" v="11842"/>
          <ac:spMkLst>
            <pc:docMk/>
            <pc:sldMk cId="1928018817" sldId="2145706679"/>
            <ac:spMk id="11" creationId="{1C53322C-9E51-4115-A482-EF76877B1F6F}"/>
          </ac:spMkLst>
        </pc:spChg>
        <pc:grpChg chg="add del mod">
          <ac:chgData name="Daniel Barnes" userId="b303a15ee67145ed" providerId="LiveId" clId="{4A5A1811-DFF2-43F5-A7A7-22A66EF04CEB}" dt="2022-03-21T23:56:19.914" v="13868" actId="478"/>
          <ac:grpSpMkLst>
            <pc:docMk/>
            <pc:sldMk cId="1928018817" sldId="2145706679"/>
            <ac:grpSpMk id="9" creationId="{6163F6E4-7450-403B-9874-D591A87A09C8}"/>
          </ac:grpSpMkLst>
        </pc:grpChg>
        <pc:picChg chg="add del mod topLvl">
          <ac:chgData name="Daniel Barnes" userId="b303a15ee67145ed" providerId="LiveId" clId="{4A5A1811-DFF2-43F5-A7A7-22A66EF04CEB}" dt="2022-03-21T23:56:19.914" v="13868" actId="478"/>
          <ac:picMkLst>
            <pc:docMk/>
            <pc:sldMk cId="1928018817" sldId="2145706679"/>
            <ac:picMk id="5" creationId="{9C43A2BB-8D9C-45AF-A4FD-E4AF19C9F2C2}"/>
          </ac:picMkLst>
        </pc:picChg>
        <pc:picChg chg="add mod topLvl">
          <ac:chgData name="Daniel Barnes" userId="b303a15ee67145ed" providerId="LiveId" clId="{4A5A1811-DFF2-43F5-A7A7-22A66EF04CEB}" dt="2022-04-03T12:49:26.499" v="22195" actId="108"/>
          <ac:picMkLst>
            <pc:docMk/>
            <pc:sldMk cId="1928018817" sldId="2145706679"/>
            <ac:picMk id="7" creationId="{F37ED244-1CA2-4FC0-A950-0A159CC785C2}"/>
          </ac:picMkLst>
        </pc:picChg>
        <pc:picChg chg="add mod">
          <ac:chgData name="Daniel Barnes" userId="b303a15ee67145ed" providerId="LiveId" clId="{4A5A1811-DFF2-43F5-A7A7-22A66EF04CEB}" dt="2022-04-03T12:46:14.708" v="22153" actId="108"/>
          <ac:picMkLst>
            <pc:docMk/>
            <pc:sldMk cId="1928018817" sldId="2145706679"/>
            <ac:picMk id="13" creationId="{846E2ECD-CD23-4E88-8141-3D76CEFB690D}"/>
          </ac:picMkLst>
        </pc:picChg>
      </pc:sldChg>
      <pc:sldChg chg="addSp delSp modSp add mod ord">
        <pc:chgData name="Daniel Barnes" userId="b303a15ee67145ed" providerId="LiveId" clId="{4A5A1811-DFF2-43F5-A7A7-22A66EF04CEB}" dt="2022-04-03T12:49:24.329" v="22194" actId="108"/>
        <pc:sldMkLst>
          <pc:docMk/>
          <pc:sldMk cId="872559501" sldId="2145706680"/>
        </pc:sldMkLst>
        <pc:spChg chg="mod">
          <ac:chgData name="Daniel Barnes" userId="b303a15ee67145ed" providerId="LiveId" clId="{4A5A1811-DFF2-43F5-A7A7-22A66EF04CEB}" dt="2022-03-13T22:56:18.327" v="4462" actId="6549"/>
          <ac:spMkLst>
            <pc:docMk/>
            <pc:sldMk cId="872559501" sldId="2145706680"/>
            <ac:spMk id="2" creationId="{0107FA66-646B-42C0-A453-9C2949F7188C}"/>
          </ac:spMkLst>
        </pc:spChg>
        <pc:spChg chg="mod">
          <ac:chgData name="Daniel Barnes" userId="b303a15ee67145ed" providerId="LiveId" clId="{4A5A1811-DFF2-43F5-A7A7-22A66EF04CEB}" dt="2022-03-21T23:38:34.884" v="12621" actId="6549"/>
          <ac:spMkLst>
            <pc:docMk/>
            <pc:sldMk cId="872559501" sldId="2145706680"/>
            <ac:spMk id="3" creationId="{E6EB4016-53BF-47E2-8C18-4CAA9DE4C1F2}"/>
          </ac:spMkLst>
        </pc:spChg>
        <pc:spChg chg="mod topLvl">
          <ac:chgData name="Daniel Barnes" userId="b303a15ee67145ed" providerId="LiveId" clId="{4A5A1811-DFF2-43F5-A7A7-22A66EF04CEB}" dt="2022-03-21T23:08:33.674" v="11437" actId="1076"/>
          <ac:spMkLst>
            <pc:docMk/>
            <pc:sldMk cId="872559501" sldId="2145706680"/>
            <ac:spMk id="11" creationId="{F4AC64F1-8C9D-4DBB-8A19-981829822467}"/>
          </ac:spMkLst>
        </pc:spChg>
        <pc:grpChg chg="add del mod">
          <ac:chgData name="Daniel Barnes" userId="b303a15ee67145ed" providerId="LiveId" clId="{4A5A1811-DFF2-43F5-A7A7-22A66EF04CEB}" dt="2022-03-21T23:08:26.363" v="11435" actId="165"/>
          <ac:grpSpMkLst>
            <pc:docMk/>
            <pc:sldMk cId="872559501" sldId="2145706680"/>
            <ac:grpSpMk id="8" creationId="{C5D6E28C-CD39-4A5F-815D-239410999DFF}"/>
          </ac:grpSpMkLst>
        </pc:grpChg>
        <pc:picChg chg="add mod">
          <ac:chgData name="Daniel Barnes" userId="b303a15ee67145ed" providerId="LiveId" clId="{4A5A1811-DFF2-43F5-A7A7-22A66EF04CEB}" dt="2022-03-22T19:53:02.900" v="15970" actId="1440"/>
          <ac:picMkLst>
            <pc:docMk/>
            <pc:sldMk cId="872559501" sldId="2145706680"/>
            <ac:picMk id="5" creationId="{8C39345D-4695-4B4C-BB7C-CD29C2AFC990}"/>
          </ac:picMkLst>
        </pc:picChg>
        <pc:picChg chg="add mod">
          <ac:chgData name="Daniel Barnes" userId="b303a15ee67145ed" providerId="LiveId" clId="{4A5A1811-DFF2-43F5-A7A7-22A66EF04CEB}" dt="2022-04-03T12:49:24.329" v="22194" actId="108"/>
          <ac:picMkLst>
            <pc:docMk/>
            <pc:sldMk cId="872559501" sldId="2145706680"/>
            <ac:picMk id="7" creationId="{C9205A87-4C93-4F34-8255-9BAAB28FCD17}"/>
          </ac:picMkLst>
        </pc:picChg>
        <pc:picChg chg="del mod">
          <ac:chgData name="Daniel Barnes" userId="b303a15ee67145ed" providerId="LiveId" clId="{4A5A1811-DFF2-43F5-A7A7-22A66EF04CEB}" dt="2022-03-21T23:08:19.556" v="11434" actId="478"/>
          <ac:picMkLst>
            <pc:docMk/>
            <pc:sldMk cId="872559501" sldId="2145706680"/>
            <ac:picMk id="9" creationId="{C81438B6-574D-4FAB-9B09-6F357453D9ED}"/>
          </ac:picMkLst>
        </pc:picChg>
        <pc:picChg chg="del mod topLvl">
          <ac:chgData name="Daniel Barnes" userId="b303a15ee67145ed" providerId="LiveId" clId="{4A5A1811-DFF2-43F5-A7A7-22A66EF04CEB}" dt="2022-03-21T23:08:35.009" v="11438" actId="478"/>
          <ac:picMkLst>
            <pc:docMk/>
            <pc:sldMk cId="872559501" sldId="2145706680"/>
            <ac:picMk id="10" creationId="{2C162AB5-425C-435A-AE53-14D679AF9D91}"/>
          </ac:picMkLst>
        </pc:picChg>
      </pc:sldChg>
      <pc:sldChg chg="addSp delSp modSp add mod ord">
        <pc:chgData name="Daniel Barnes" userId="b303a15ee67145ed" providerId="LiveId" clId="{4A5A1811-DFF2-43F5-A7A7-22A66EF04CEB}" dt="2022-04-03T12:49:21.877" v="22193" actId="108"/>
        <pc:sldMkLst>
          <pc:docMk/>
          <pc:sldMk cId="111679069" sldId="2145706681"/>
        </pc:sldMkLst>
        <pc:spChg chg="mod">
          <ac:chgData name="Daniel Barnes" userId="b303a15ee67145ed" providerId="LiveId" clId="{4A5A1811-DFF2-43F5-A7A7-22A66EF04CEB}" dt="2022-03-13T22:56:23.033" v="4464" actId="207"/>
          <ac:spMkLst>
            <pc:docMk/>
            <pc:sldMk cId="111679069" sldId="2145706681"/>
            <ac:spMk id="2" creationId="{0107FA66-646B-42C0-A453-9C2949F7188C}"/>
          </ac:spMkLst>
        </pc:spChg>
        <pc:spChg chg="mod">
          <ac:chgData name="Daniel Barnes" userId="b303a15ee67145ed" providerId="LiveId" clId="{4A5A1811-DFF2-43F5-A7A7-22A66EF04CEB}" dt="2022-03-21T23:38:10.246" v="12603" actId="6549"/>
          <ac:spMkLst>
            <pc:docMk/>
            <pc:sldMk cId="111679069" sldId="2145706681"/>
            <ac:spMk id="3" creationId="{E6EB4016-53BF-47E2-8C18-4CAA9DE4C1F2}"/>
          </ac:spMkLst>
        </pc:spChg>
        <pc:spChg chg="add mod">
          <ac:chgData name="Daniel Barnes" userId="b303a15ee67145ed" providerId="LiveId" clId="{4A5A1811-DFF2-43F5-A7A7-22A66EF04CEB}" dt="2022-03-21T23:25:28.171" v="11791"/>
          <ac:spMkLst>
            <pc:docMk/>
            <pc:sldMk cId="111679069" sldId="2145706681"/>
            <ac:spMk id="13" creationId="{5D85504F-EB95-434D-BFDE-57EEB165C10F}"/>
          </ac:spMkLst>
        </pc:spChg>
        <pc:picChg chg="add del mod">
          <ac:chgData name="Daniel Barnes" userId="b303a15ee67145ed" providerId="LiveId" clId="{4A5A1811-DFF2-43F5-A7A7-22A66EF04CEB}" dt="2022-03-21T23:20:29.782" v="11759" actId="478"/>
          <ac:picMkLst>
            <pc:docMk/>
            <pc:sldMk cId="111679069" sldId="2145706681"/>
            <ac:picMk id="5" creationId="{3F1338D5-FD2A-4D1B-8A46-B8D79AD8886E}"/>
          </ac:picMkLst>
        </pc:picChg>
        <pc:picChg chg="add del mod">
          <ac:chgData name="Daniel Barnes" userId="b303a15ee67145ed" providerId="LiveId" clId="{4A5A1811-DFF2-43F5-A7A7-22A66EF04CEB}" dt="2022-03-21T23:20:48.570" v="11764" actId="478"/>
          <ac:picMkLst>
            <pc:docMk/>
            <pc:sldMk cId="111679069" sldId="2145706681"/>
            <ac:picMk id="7" creationId="{41DA523E-C66C-4681-8D17-6843FF67269D}"/>
          </ac:picMkLst>
        </pc:picChg>
        <pc:picChg chg="add mod">
          <ac:chgData name="Daniel Barnes" userId="b303a15ee67145ed" providerId="LiveId" clId="{4A5A1811-DFF2-43F5-A7A7-22A66EF04CEB}" dt="2022-03-22T19:53:17.397" v="15971" actId="1440"/>
          <ac:picMkLst>
            <pc:docMk/>
            <pc:sldMk cId="111679069" sldId="2145706681"/>
            <ac:picMk id="9" creationId="{BC50FD34-5E89-43E4-B0A3-875A7B0B1E80}"/>
          </ac:picMkLst>
        </pc:picChg>
        <pc:picChg chg="add mod">
          <ac:chgData name="Daniel Barnes" userId="b303a15ee67145ed" providerId="LiveId" clId="{4A5A1811-DFF2-43F5-A7A7-22A66EF04CEB}" dt="2022-04-03T12:49:21.877" v="22193" actId="108"/>
          <ac:picMkLst>
            <pc:docMk/>
            <pc:sldMk cId="111679069" sldId="2145706681"/>
            <ac:picMk id="11" creationId="{702038D2-65BB-44EC-A438-BB9B2605B173}"/>
          </ac:picMkLst>
        </pc:picChg>
        <pc:picChg chg="add del mod">
          <ac:chgData name="Daniel Barnes" userId="b303a15ee67145ed" providerId="LiveId" clId="{4A5A1811-DFF2-43F5-A7A7-22A66EF04CEB}" dt="2022-03-21T23:26:08.353" v="11831" actId="478"/>
          <ac:picMkLst>
            <pc:docMk/>
            <pc:sldMk cId="111679069" sldId="2145706681"/>
            <ac:picMk id="12" creationId="{B4AD7281-9057-4774-B621-7148593182A1}"/>
          </ac:picMkLst>
        </pc:picChg>
      </pc:sldChg>
      <pc:sldChg chg="addSp delSp modSp add mod ord">
        <pc:chgData name="Daniel Barnes" userId="b303a15ee67145ed" providerId="LiveId" clId="{4A5A1811-DFF2-43F5-A7A7-22A66EF04CEB}" dt="2022-04-03T12:49:10.470" v="22192" actId="108"/>
        <pc:sldMkLst>
          <pc:docMk/>
          <pc:sldMk cId="2304292874" sldId="2145706682"/>
        </pc:sldMkLst>
        <pc:spChg chg="mod">
          <ac:chgData name="Daniel Barnes" userId="b303a15ee67145ed" providerId="LiveId" clId="{4A5A1811-DFF2-43F5-A7A7-22A66EF04CEB}" dt="2022-03-13T22:56:28.245" v="4466" actId="207"/>
          <ac:spMkLst>
            <pc:docMk/>
            <pc:sldMk cId="2304292874" sldId="2145706682"/>
            <ac:spMk id="2" creationId="{0107FA66-646B-42C0-A453-9C2949F7188C}"/>
          </ac:spMkLst>
        </pc:spChg>
        <pc:spChg chg="mod">
          <ac:chgData name="Daniel Barnes" userId="b303a15ee67145ed" providerId="LiveId" clId="{4A5A1811-DFF2-43F5-A7A7-22A66EF04CEB}" dt="2022-03-21T23:40:57.823" v="12661" actId="20577"/>
          <ac:spMkLst>
            <pc:docMk/>
            <pc:sldMk cId="2304292874" sldId="2145706682"/>
            <ac:spMk id="3" creationId="{E6EB4016-53BF-47E2-8C18-4CAA9DE4C1F2}"/>
          </ac:spMkLst>
        </pc:spChg>
        <pc:spChg chg="add mod">
          <ac:chgData name="Daniel Barnes" userId="b303a15ee67145ed" providerId="LiveId" clId="{4A5A1811-DFF2-43F5-A7A7-22A66EF04CEB}" dt="2022-03-21T23:26:22.857" v="11832"/>
          <ac:spMkLst>
            <pc:docMk/>
            <pc:sldMk cId="2304292874" sldId="2145706682"/>
            <ac:spMk id="12" creationId="{801B4DEE-B97E-4921-9A67-9F2D2730D05E}"/>
          </ac:spMkLst>
        </pc:spChg>
        <pc:picChg chg="add del mod">
          <ac:chgData name="Daniel Barnes" userId="b303a15ee67145ed" providerId="LiveId" clId="{4A5A1811-DFF2-43F5-A7A7-22A66EF04CEB}" dt="2022-03-21T23:21:56.737" v="11775" actId="478"/>
          <ac:picMkLst>
            <pc:docMk/>
            <pc:sldMk cId="2304292874" sldId="2145706682"/>
            <ac:picMk id="5" creationId="{2137E22D-7AD0-46D4-811E-8FD3E9E4F3A8}"/>
          </ac:picMkLst>
        </pc:picChg>
        <pc:picChg chg="add del mod">
          <ac:chgData name="Daniel Barnes" userId="b303a15ee67145ed" providerId="LiveId" clId="{4A5A1811-DFF2-43F5-A7A7-22A66EF04CEB}" dt="2022-03-21T23:21:35.970" v="11768" actId="478"/>
          <ac:picMkLst>
            <pc:docMk/>
            <pc:sldMk cId="2304292874" sldId="2145706682"/>
            <ac:picMk id="7" creationId="{42DECA9C-6F56-41E8-99DC-780F6D7B5E22}"/>
          </ac:picMkLst>
        </pc:picChg>
        <pc:picChg chg="add mod">
          <ac:chgData name="Daniel Barnes" userId="b303a15ee67145ed" providerId="LiveId" clId="{4A5A1811-DFF2-43F5-A7A7-22A66EF04CEB}" dt="2022-04-03T12:49:10.470" v="22192" actId="108"/>
          <ac:picMkLst>
            <pc:docMk/>
            <pc:sldMk cId="2304292874" sldId="2145706682"/>
            <ac:picMk id="9" creationId="{66076630-D089-4035-BE64-B1AC97D7C1C6}"/>
          </ac:picMkLst>
        </pc:picChg>
        <pc:picChg chg="add mod">
          <ac:chgData name="Daniel Barnes" userId="b303a15ee67145ed" providerId="LiveId" clId="{4A5A1811-DFF2-43F5-A7A7-22A66EF04CEB}" dt="2022-03-22T19:53:26.245" v="15972" actId="1440"/>
          <ac:picMkLst>
            <pc:docMk/>
            <pc:sldMk cId="2304292874" sldId="2145706682"/>
            <ac:picMk id="11" creationId="{A28D3CA6-E066-48F2-83D6-0C47F820962E}"/>
          </ac:picMkLst>
        </pc:picChg>
      </pc:sldChg>
      <pc:sldChg chg="addSp modSp add mod ord">
        <pc:chgData name="Daniel Barnes" userId="b303a15ee67145ed" providerId="LiveId" clId="{4A5A1811-DFF2-43F5-A7A7-22A66EF04CEB}" dt="2022-04-03T12:49:03.936" v="22190" actId="108"/>
        <pc:sldMkLst>
          <pc:docMk/>
          <pc:sldMk cId="3436852672" sldId="2145706683"/>
        </pc:sldMkLst>
        <pc:spChg chg="mod">
          <ac:chgData name="Daniel Barnes" userId="b303a15ee67145ed" providerId="LiveId" clId="{4A5A1811-DFF2-43F5-A7A7-22A66EF04CEB}" dt="2022-03-13T22:56:33.356" v="4468" actId="207"/>
          <ac:spMkLst>
            <pc:docMk/>
            <pc:sldMk cId="3436852672" sldId="2145706683"/>
            <ac:spMk id="2" creationId="{0107FA66-646B-42C0-A453-9C2949F7188C}"/>
          </ac:spMkLst>
        </pc:spChg>
        <pc:spChg chg="mod">
          <ac:chgData name="Daniel Barnes" userId="b303a15ee67145ed" providerId="LiveId" clId="{4A5A1811-DFF2-43F5-A7A7-22A66EF04CEB}" dt="2022-03-21T23:40:52.711" v="12660" actId="20577"/>
          <ac:spMkLst>
            <pc:docMk/>
            <pc:sldMk cId="3436852672" sldId="2145706683"/>
            <ac:spMk id="3" creationId="{E6EB4016-53BF-47E2-8C18-4CAA9DE4C1F2}"/>
          </ac:spMkLst>
        </pc:spChg>
        <pc:spChg chg="add mod">
          <ac:chgData name="Daniel Barnes" userId="b303a15ee67145ed" providerId="LiveId" clId="{4A5A1811-DFF2-43F5-A7A7-22A66EF04CEB}" dt="2022-03-21T23:26:25.790" v="11834"/>
          <ac:spMkLst>
            <pc:docMk/>
            <pc:sldMk cId="3436852672" sldId="2145706683"/>
            <ac:spMk id="8" creationId="{8110911A-B0A5-4963-A1A6-A1E9F9E4AD9F}"/>
          </ac:spMkLst>
        </pc:spChg>
        <pc:picChg chg="add mod">
          <ac:chgData name="Daniel Barnes" userId="b303a15ee67145ed" providerId="LiveId" clId="{4A5A1811-DFF2-43F5-A7A7-22A66EF04CEB}" dt="2022-03-22T19:53:36.475" v="15974" actId="1440"/>
          <ac:picMkLst>
            <pc:docMk/>
            <pc:sldMk cId="3436852672" sldId="2145706683"/>
            <ac:picMk id="5" creationId="{71C3FEA7-96A8-4984-AD5D-6171B6995C76}"/>
          </ac:picMkLst>
        </pc:picChg>
        <pc:picChg chg="add mod">
          <ac:chgData name="Daniel Barnes" userId="b303a15ee67145ed" providerId="LiveId" clId="{4A5A1811-DFF2-43F5-A7A7-22A66EF04CEB}" dt="2022-04-03T12:49:03.936" v="22190" actId="108"/>
          <ac:picMkLst>
            <pc:docMk/>
            <pc:sldMk cId="3436852672" sldId="2145706683"/>
            <ac:picMk id="7" creationId="{07DB6356-78B7-479A-A3F7-0FB23A05728D}"/>
          </ac:picMkLst>
        </pc:picChg>
      </pc:sldChg>
      <pc:sldChg chg="addSp modSp add mod ord">
        <pc:chgData name="Daniel Barnes" userId="b303a15ee67145ed" providerId="LiveId" clId="{4A5A1811-DFF2-43F5-A7A7-22A66EF04CEB}" dt="2022-04-03T12:49:00.360" v="22189" actId="108"/>
        <pc:sldMkLst>
          <pc:docMk/>
          <pc:sldMk cId="2271103421" sldId="2145706684"/>
        </pc:sldMkLst>
        <pc:spChg chg="mod">
          <ac:chgData name="Daniel Barnes" userId="b303a15ee67145ed" providerId="LiveId" clId="{4A5A1811-DFF2-43F5-A7A7-22A66EF04CEB}" dt="2022-03-13T22:56:43.663" v="4470" actId="207"/>
          <ac:spMkLst>
            <pc:docMk/>
            <pc:sldMk cId="2271103421" sldId="2145706684"/>
            <ac:spMk id="2" creationId="{0107FA66-646B-42C0-A453-9C2949F7188C}"/>
          </ac:spMkLst>
        </pc:spChg>
        <pc:spChg chg="mod">
          <ac:chgData name="Daniel Barnes" userId="b303a15ee67145ed" providerId="LiveId" clId="{4A5A1811-DFF2-43F5-A7A7-22A66EF04CEB}" dt="2022-03-21T23:43:00.171" v="12832" actId="20577"/>
          <ac:spMkLst>
            <pc:docMk/>
            <pc:sldMk cId="2271103421" sldId="2145706684"/>
            <ac:spMk id="3" creationId="{E6EB4016-53BF-47E2-8C18-4CAA9DE4C1F2}"/>
          </ac:spMkLst>
        </pc:spChg>
        <pc:spChg chg="add mod">
          <ac:chgData name="Daniel Barnes" userId="b303a15ee67145ed" providerId="LiveId" clId="{4A5A1811-DFF2-43F5-A7A7-22A66EF04CEB}" dt="2022-03-21T23:26:27.931" v="11835"/>
          <ac:spMkLst>
            <pc:docMk/>
            <pc:sldMk cId="2271103421" sldId="2145706684"/>
            <ac:spMk id="8" creationId="{D00A55F6-95C7-4941-9E59-02BD45A5A209}"/>
          </ac:spMkLst>
        </pc:spChg>
        <pc:picChg chg="add mod">
          <ac:chgData name="Daniel Barnes" userId="b303a15ee67145ed" providerId="LiveId" clId="{4A5A1811-DFF2-43F5-A7A7-22A66EF04CEB}" dt="2022-03-22T19:53:43.150" v="15975" actId="1440"/>
          <ac:picMkLst>
            <pc:docMk/>
            <pc:sldMk cId="2271103421" sldId="2145706684"/>
            <ac:picMk id="5" creationId="{1B68E7D9-81E5-4460-973D-88FDAF920992}"/>
          </ac:picMkLst>
        </pc:picChg>
        <pc:picChg chg="add mod">
          <ac:chgData name="Daniel Barnes" userId="b303a15ee67145ed" providerId="LiveId" clId="{4A5A1811-DFF2-43F5-A7A7-22A66EF04CEB}" dt="2022-04-03T12:49:00.360" v="22189" actId="108"/>
          <ac:picMkLst>
            <pc:docMk/>
            <pc:sldMk cId="2271103421" sldId="2145706684"/>
            <ac:picMk id="7" creationId="{5813E184-31A4-44F6-8E04-B0422120E8BF}"/>
          </ac:picMkLst>
        </pc:picChg>
      </pc:sldChg>
      <pc:sldChg chg="addSp modSp add mod ord">
        <pc:chgData name="Daniel Barnes" userId="b303a15ee67145ed" providerId="LiveId" clId="{4A5A1811-DFF2-43F5-A7A7-22A66EF04CEB}" dt="2022-04-03T12:48:56.615" v="22188" actId="108"/>
        <pc:sldMkLst>
          <pc:docMk/>
          <pc:sldMk cId="3547060833" sldId="2145706685"/>
        </pc:sldMkLst>
        <pc:spChg chg="mod">
          <ac:chgData name="Daniel Barnes" userId="b303a15ee67145ed" providerId="LiveId" clId="{4A5A1811-DFF2-43F5-A7A7-22A66EF04CEB}" dt="2022-03-13T22:56:48.694" v="4472" actId="207"/>
          <ac:spMkLst>
            <pc:docMk/>
            <pc:sldMk cId="3547060833" sldId="2145706685"/>
            <ac:spMk id="2" creationId="{0107FA66-646B-42C0-A453-9C2949F7188C}"/>
          </ac:spMkLst>
        </pc:spChg>
        <pc:spChg chg="mod">
          <ac:chgData name="Daniel Barnes" userId="b303a15ee67145ed" providerId="LiveId" clId="{4A5A1811-DFF2-43F5-A7A7-22A66EF04CEB}" dt="2022-03-21T23:47:00.649" v="13401" actId="108"/>
          <ac:spMkLst>
            <pc:docMk/>
            <pc:sldMk cId="3547060833" sldId="2145706685"/>
            <ac:spMk id="3" creationId="{E6EB4016-53BF-47E2-8C18-4CAA9DE4C1F2}"/>
          </ac:spMkLst>
        </pc:spChg>
        <pc:spChg chg="add mod">
          <ac:chgData name="Daniel Barnes" userId="b303a15ee67145ed" providerId="LiveId" clId="{4A5A1811-DFF2-43F5-A7A7-22A66EF04CEB}" dt="2022-03-21T23:26:29.565" v="11836"/>
          <ac:spMkLst>
            <pc:docMk/>
            <pc:sldMk cId="3547060833" sldId="2145706685"/>
            <ac:spMk id="8" creationId="{037B3AE1-6D36-4754-9B2A-EE291B5EC6E6}"/>
          </ac:spMkLst>
        </pc:spChg>
        <pc:picChg chg="add mod">
          <ac:chgData name="Daniel Barnes" userId="b303a15ee67145ed" providerId="LiveId" clId="{4A5A1811-DFF2-43F5-A7A7-22A66EF04CEB}" dt="2022-03-22T19:53:49.072" v="15976" actId="108"/>
          <ac:picMkLst>
            <pc:docMk/>
            <pc:sldMk cId="3547060833" sldId="2145706685"/>
            <ac:picMk id="5" creationId="{8DB41782-2457-491F-AB72-BBC3943EAD6C}"/>
          </ac:picMkLst>
        </pc:picChg>
        <pc:picChg chg="add mod">
          <ac:chgData name="Daniel Barnes" userId="b303a15ee67145ed" providerId="LiveId" clId="{4A5A1811-DFF2-43F5-A7A7-22A66EF04CEB}" dt="2022-04-03T12:48:56.615" v="22188" actId="108"/>
          <ac:picMkLst>
            <pc:docMk/>
            <pc:sldMk cId="3547060833" sldId="2145706685"/>
            <ac:picMk id="7" creationId="{A175836D-2FD9-429E-AE10-7F89B7A43099}"/>
          </ac:picMkLst>
        </pc:picChg>
      </pc:sldChg>
      <pc:sldChg chg="addSp modSp add mod ord setBg">
        <pc:chgData name="Daniel Barnes" userId="b303a15ee67145ed" providerId="LiveId" clId="{4A5A1811-DFF2-43F5-A7A7-22A66EF04CEB}" dt="2022-04-03T12:48:52.046" v="22187" actId="108"/>
        <pc:sldMkLst>
          <pc:docMk/>
          <pc:sldMk cId="4277568149" sldId="2145706686"/>
        </pc:sldMkLst>
        <pc:spChg chg="mod">
          <ac:chgData name="Daniel Barnes" userId="b303a15ee67145ed" providerId="LiveId" clId="{4A5A1811-DFF2-43F5-A7A7-22A66EF04CEB}" dt="2022-03-21T23:30:40.236" v="12138"/>
          <ac:spMkLst>
            <pc:docMk/>
            <pc:sldMk cId="4277568149" sldId="2145706686"/>
            <ac:spMk id="2" creationId="{0107FA66-646B-42C0-A453-9C2949F7188C}"/>
          </ac:spMkLst>
        </pc:spChg>
        <pc:spChg chg="mod">
          <ac:chgData name="Daniel Barnes" userId="b303a15ee67145ed" providerId="LiveId" clId="{4A5A1811-DFF2-43F5-A7A7-22A66EF04CEB}" dt="2022-03-21T23:50:58.549" v="13552" actId="20577"/>
          <ac:spMkLst>
            <pc:docMk/>
            <pc:sldMk cId="4277568149" sldId="2145706686"/>
            <ac:spMk id="3" creationId="{E6EB4016-53BF-47E2-8C18-4CAA9DE4C1F2}"/>
          </ac:spMkLst>
        </pc:spChg>
        <pc:spChg chg="add mod">
          <ac:chgData name="Daniel Barnes" userId="b303a15ee67145ed" providerId="LiveId" clId="{4A5A1811-DFF2-43F5-A7A7-22A66EF04CEB}" dt="2022-03-21T23:26:30.999" v="11837"/>
          <ac:spMkLst>
            <pc:docMk/>
            <pc:sldMk cId="4277568149" sldId="2145706686"/>
            <ac:spMk id="8" creationId="{8316B8CA-7D59-4050-A066-9B5625E6A76F}"/>
          </ac:spMkLst>
        </pc:spChg>
        <pc:picChg chg="add mod">
          <ac:chgData name="Daniel Barnes" userId="b303a15ee67145ed" providerId="LiveId" clId="{4A5A1811-DFF2-43F5-A7A7-22A66EF04CEB}" dt="2022-03-22T19:53:52.284" v="15977" actId="108"/>
          <ac:picMkLst>
            <pc:docMk/>
            <pc:sldMk cId="4277568149" sldId="2145706686"/>
            <ac:picMk id="5" creationId="{27D49347-C0E6-4AA9-B25C-30060E2444E5}"/>
          </ac:picMkLst>
        </pc:picChg>
        <pc:picChg chg="add mod">
          <ac:chgData name="Daniel Barnes" userId="b303a15ee67145ed" providerId="LiveId" clId="{4A5A1811-DFF2-43F5-A7A7-22A66EF04CEB}" dt="2022-04-03T12:48:52.046" v="22187" actId="108"/>
          <ac:picMkLst>
            <pc:docMk/>
            <pc:sldMk cId="4277568149" sldId="2145706686"/>
            <ac:picMk id="7" creationId="{B5CB2688-64E0-47C0-BA64-C6A7DC60F686}"/>
          </ac:picMkLst>
        </pc:picChg>
      </pc:sldChg>
      <pc:sldChg chg="addSp modSp add mod ord">
        <pc:chgData name="Daniel Barnes" userId="b303a15ee67145ed" providerId="LiveId" clId="{4A5A1811-DFF2-43F5-A7A7-22A66EF04CEB}" dt="2022-04-03T12:48:43.820" v="22186" actId="1582"/>
        <pc:sldMkLst>
          <pc:docMk/>
          <pc:sldMk cId="3510424751" sldId="2145706687"/>
        </pc:sldMkLst>
        <pc:spChg chg="mod">
          <ac:chgData name="Daniel Barnes" userId="b303a15ee67145ed" providerId="LiveId" clId="{4A5A1811-DFF2-43F5-A7A7-22A66EF04CEB}" dt="2022-03-13T22:56:58.916" v="4476" actId="207"/>
          <ac:spMkLst>
            <pc:docMk/>
            <pc:sldMk cId="3510424751" sldId="2145706687"/>
            <ac:spMk id="2" creationId="{0107FA66-646B-42C0-A453-9C2949F7188C}"/>
          </ac:spMkLst>
        </pc:spChg>
        <pc:spChg chg="mod">
          <ac:chgData name="Daniel Barnes" userId="b303a15ee67145ed" providerId="LiveId" clId="{4A5A1811-DFF2-43F5-A7A7-22A66EF04CEB}" dt="2022-03-21T23:54:55.946" v="13856" actId="6549"/>
          <ac:spMkLst>
            <pc:docMk/>
            <pc:sldMk cId="3510424751" sldId="2145706687"/>
            <ac:spMk id="3" creationId="{E6EB4016-53BF-47E2-8C18-4CAA9DE4C1F2}"/>
          </ac:spMkLst>
        </pc:spChg>
        <pc:spChg chg="add mod">
          <ac:chgData name="Daniel Barnes" userId="b303a15ee67145ed" providerId="LiveId" clId="{4A5A1811-DFF2-43F5-A7A7-22A66EF04CEB}" dt="2022-03-21T23:26:32.711" v="11838"/>
          <ac:spMkLst>
            <pc:docMk/>
            <pc:sldMk cId="3510424751" sldId="2145706687"/>
            <ac:spMk id="8" creationId="{00593BBD-21D6-4EFD-BA6D-CF55DBAFE911}"/>
          </ac:spMkLst>
        </pc:spChg>
        <pc:picChg chg="add mod">
          <ac:chgData name="Daniel Barnes" userId="b303a15ee67145ed" providerId="LiveId" clId="{4A5A1811-DFF2-43F5-A7A7-22A66EF04CEB}" dt="2022-03-22T19:53:54.911" v="15978" actId="108"/>
          <ac:picMkLst>
            <pc:docMk/>
            <pc:sldMk cId="3510424751" sldId="2145706687"/>
            <ac:picMk id="5" creationId="{E1ACC389-5CD4-4704-8926-D2C2BC056C91}"/>
          </ac:picMkLst>
        </pc:picChg>
        <pc:picChg chg="add mod">
          <ac:chgData name="Daniel Barnes" userId="b303a15ee67145ed" providerId="LiveId" clId="{4A5A1811-DFF2-43F5-A7A7-22A66EF04CEB}" dt="2022-04-03T12:48:43.820" v="22186" actId="1582"/>
          <ac:picMkLst>
            <pc:docMk/>
            <pc:sldMk cId="3510424751" sldId="2145706687"/>
            <ac:picMk id="7" creationId="{560491BC-24C6-41C4-B191-B66AC1EDF4AD}"/>
          </ac:picMkLst>
        </pc:picChg>
      </pc:sldChg>
      <pc:sldChg chg="addSp delSp modSp add mod ord modClrScheme chgLayout">
        <pc:chgData name="Daniel Barnes" userId="b303a15ee67145ed" providerId="LiveId" clId="{4A5A1811-DFF2-43F5-A7A7-22A66EF04CEB}" dt="2022-04-02T21:26:56.392" v="19551"/>
        <pc:sldMkLst>
          <pc:docMk/>
          <pc:sldMk cId="2832483055" sldId="2145706688"/>
        </pc:sldMkLst>
        <pc:spChg chg="mod ord">
          <ac:chgData name="Daniel Barnes" userId="b303a15ee67145ed" providerId="LiveId" clId="{4A5A1811-DFF2-43F5-A7A7-22A66EF04CEB}" dt="2022-03-13T22:55:39.121" v="4448" actId="12789"/>
          <ac:spMkLst>
            <pc:docMk/>
            <pc:sldMk cId="2832483055" sldId="2145706688"/>
            <ac:spMk id="2" creationId="{0107FA66-646B-42C0-A453-9C2949F7188C}"/>
          </ac:spMkLst>
        </pc:spChg>
        <pc:spChg chg="del mod ord">
          <ac:chgData name="Daniel Barnes" userId="b303a15ee67145ed" providerId="LiveId" clId="{4A5A1811-DFF2-43F5-A7A7-22A66EF04CEB}" dt="2022-03-13T22:49:28.334" v="4254" actId="700"/>
          <ac:spMkLst>
            <pc:docMk/>
            <pc:sldMk cId="2832483055" sldId="2145706688"/>
            <ac:spMk id="3" creationId="{E6EB4016-53BF-47E2-8C18-4CAA9DE4C1F2}"/>
          </ac:spMkLst>
        </pc:spChg>
        <pc:spChg chg="add del mod ord">
          <ac:chgData name="Daniel Barnes" userId="b303a15ee67145ed" providerId="LiveId" clId="{4A5A1811-DFF2-43F5-A7A7-22A66EF04CEB}" dt="2022-03-13T22:49:32.172" v="4255" actId="700"/>
          <ac:spMkLst>
            <pc:docMk/>
            <pc:sldMk cId="2832483055" sldId="2145706688"/>
            <ac:spMk id="4" creationId="{11E14CB2-A376-4E53-A5B5-3D5130049988}"/>
          </ac:spMkLst>
        </pc:spChg>
        <pc:spChg chg="add del mod ord">
          <ac:chgData name="Daniel Barnes" userId="b303a15ee67145ed" providerId="LiveId" clId="{4A5A1811-DFF2-43F5-A7A7-22A66EF04CEB}" dt="2022-03-13T22:49:32.172" v="4255" actId="700"/>
          <ac:spMkLst>
            <pc:docMk/>
            <pc:sldMk cId="2832483055" sldId="2145706688"/>
            <ac:spMk id="5" creationId="{F5DDF5D7-F1DB-4F72-8134-E17B7E98114C}"/>
          </ac:spMkLst>
        </pc:spChg>
        <pc:spChg chg="add del mod ord">
          <ac:chgData name="Daniel Barnes" userId="b303a15ee67145ed" providerId="LiveId" clId="{4A5A1811-DFF2-43F5-A7A7-22A66EF04CEB}" dt="2022-03-13T22:49:33.956" v="4256" actId="478"/>
          <ac:spMkLst>
            <pc:docMk/>
            <pc:sldMk cId="2832483055" sldId="2145706688"/>
            <ac:spMk id="6" creationId="{4F1A4E85-94F2-4846-AD88-DD313E8CF7BD}"/>
          </ac:spMkLst>
        </pc:spChg>
      </pc:sldChg>
      <pc:sldChg chg="modSp add mod ord">
        <pc:chgData name="Daniel Barnes" userId="b303a15ee67145ed" providerId="LiveId" clId="{4A5A1811-DFF2-43F5-A7A7-22A66EF04CEB}" dt="2022-04-02T21:26:56.392" v="19551"/>
        <pc:sldMkLst>
          <pc:docMk/>
          <pc:sldMk cId="1951719549" sldId="2145706689"/>
        </pc:sldMkLst>
        <pc:spChg chg="mod">
          <ac:chgData name="Daniel Barnes" userId="b303a15ee67145ed" providerId="LiveId" clId="{4A5A1811-DFF2-43F5-A7A7-22A66EF04CEB}" dt="2022-03-13T22:56:06.004" v="4458" actId="12789"/>
          <ac:spMkLst>
            <pc:docMk/>
            <pc:sldMk cId="1951719549" sldId="2145706689"/>
            <ac:spMk id="2" creationId="{0107FA66-646B-42C0-A453-9C2949F7188C}"/>
          </ac:spMkLst>
        </pc:spChg>
      </pc:sldChg>
      <pc:sldChg chg="modSp add mod ord">
        <pc:chgData name="Daniel Barnes" userId="b303a15ee67145ed" providerId="LiveId" clId="{4A5A1811-DFF2-43F5-A7A7-22A66EF04CEB}" dt="2022-04-02T21:26:56.392" v="19551"/>
        <pc:sldMkLst>
          <pc:docMk/>
          <pc:sldMk cId="3485903439" sldId="2145706690"/>
        </pc:sldMkLst>
        <pc:spChg chg="mod">
          <ac:chgData name="Daniel Barnes" userId="b303a15ee67145ed" providerId="LiveId" clId="{4A5A1811-DFF2-43F5-A7A7-22A66EF04CEB}" dt="2022-03-13T22:50:45.270" v="4335" actId="20577"/>
          <ac:spMkLst>
            <pc:docMk/>
            <pc:sldMk cId="3485903439" sldId="2145706690"/>
            <ac:spMk id="2" creationId="{0107FA66-646B-42C0-A453-9C2949F7188C}"/>
          </ac:spMkLst>
        </pc:spChg>
      </pc:sldChg>
      <pc:sldChg chg="addSp modSp add mod ord">
        <pc:chgData name="Daniel Barnes" userId="b303a15ee67145ed" providerId="LiveId" clId="{4A5A1811-DFF2-43F5-A7A7-22A66EF04CEB}" dt="2022-04-02T21:26:56.392" v="19551"/>
        <pc:sldMkLst>
          <pc:docMk/>
          <pc:sldMk cId="88195222" sldId="2145706691"/>
        </pc:sldMkLst>
        <pc:spChg chg="mod">
          <ac:chgData name="Daniel Barnes" userId="b303a15ee67145ed" providerId="LiveId" clId="{4A5A1811-DFF2-43F5-A7A7-22A66EF04CEB}" dt="2022-03-22T19:44:53.714" v="15605" actId="20577"/>
          <ac:spMkLst>
            <pc:docMk/>
            <pc:sldMk cId="88195222" sldId="2145706691"/>
            <ac:spMk id="2" creationId="{0107FA66-646B-42C0-A453-9C2949F7188C}"/>
          </ac:spMkLst>
        </pc:spChg>
        <pc:spChg chg="mod">
          <ac:chgData name="Daniel Barnes" userId="b303a15ee67145ed" providerId="LiveId" clId="{4A5A1811-DFF2-43F5-A7A7-22A66EF04CEB}" dt="2022-03-22T20:01:35.140" v="16155" actId="242"/>
          <ac:spMkLst>
            <pc:docMk/>
            <pc:sldMk cId="88195222" sldId="2145706691"/>
            <ac:spMk id="3" creationId="{E6EB4016-53BF-47E2-8C18-4CAA9DE4C1F2}"/>
          </ac:spMkLst>
        </pc:spChg>
        <pc:picChg chg="add mod modCrop">
          <ac:chgData name="Daniel Barnes" userId="b303a15ee67145ed" providerId="LiveId" clId="{4A5A1811-DFF2-43F5-A7A7-22A66EF04CEB}" dt="2022-03-22T19:58:59.177" v="16012" actId="1036"/>
          <ac:picMkLst>
            <pc:docMk/>
            <pc:sldMk cId="88195222" sldId="2145706691"/>
            <ac:picMk id="5" creationId="{830E6953-316E-42EB-95D1-99F67DA414D8}"/>
          </ac:picMkLst>
        </pc:picChg>
        <pc:picChg chg="add mod">
          <ac:chgData name="Daniel Barnes" userId="b303a15ee67145ed" providerId="LiveId" clId="{4A5A1811-DFF2-43F5-A7A7-22A66EF04CEB}" dt="2022-03-22T19:58:59.177" v="16012" actId="1036"/>
          <ac:picMkLst>
            <pc:docMk/>
            <pc:sldMk cId="88195222" sldId="2145706691"/>
            <ac:picMk id="7" creationId="{2F1A4898-110E-45CB-9796-031F12CC5C36}"/>
          </ac:picMkLst>
        </pc:picChg>
        <pc:picChg chg="add mod">
          <ac:chgData name="Daniel Barnes" userId="b303a15ee67145ed" providerId="LiveId" clId="{4A5A1811-DFF2-43F5-A7A7-22A66EF04CEB}" dt="2022-03-22T20:00:18.705" v="16019" actId="1036"/>
          <ac:picMkLst>
            <pc:docMk/>
            <pc:sldMk cId="88195222" sldId="2145706691"/>
            <ac:picMk id="9" creationId="{ED5DAAF4-F0FD-496A-A5FD-EDD46E8D9201}"/>
          </ac:picMkLst>
        </pc:picChg>
        <pc:picChg chg="add mod">
          <ac:chgData name="Daniel Barnes" userId="b303a15ee67145ed" providerId="LiveId" clId="{4A5A1811-DFF2-43F5-A7A7-22A66EF04CEB}" dt="2022-03-22T20:00:18.705" v="16019" actId="1036"/>
          <ac:picMkLst>
            <pc:docMk/>
            <pc:sldMk cId="88195222" sldId="2145706691"/>
            <ac:picMk id="11" creationId="{84F9D811-0565-48B1-B761-E038A313E4C1}"/>
          </ac:picMkLst>
        </pc:picChg>
        <pc:cxnChg chg="add mod">
          <ac:chgData name="Daniel Barnes" userId="b303a15ee67145ed" providerId="LiveId" clId="{4A5A1811-DFF2-43F5-A7A7-22A66EF04CEB}" dt="2022-03-22T20:14:31.130" v="16254" actId="14100"/>
          <ac:cxnSpMkLst>
            <pc:docMk/>
            <pc:sldMk cId="88195222" sldId="2145706691"/>
            <ac:cxnSpMk id="13" creationId="{A431E1EE-7A9E-47B1-8975-52E55A84DDFB}"/>
          </ac:cxnSpMkLst>
        </pc:cxnChg>
        <pc:cxnChg chg="add mod">
          <ac:chgData name="Daniel Barnes" userId="b303a15ee67145ed" providerId="LiveId" clId="{4A5A1811-DFF2-43F5-A7A7-22A66EF04CEB}" dt="2022-03-22T20:14:47.577" v="16258" actId="14100"/>
          <ac:cxnSpMkLst>
            <pc:docMk/>
            <pc:sldMk cId="88195222" sldId="2145706691"/>
            <ac:cxnSpMk id="17" creationId="{211FF143-CEC6-4CA3-89FE-0F8B1F81702C}"/>
          </ac:cxnSpMkLst>
        </pc:cxnChg>
        <pc:cxnChg chg="add mod">
          <ac:chgData name="Daniel Barnes" userId="b303a15ee67145ed" providerId="LiveId" clId="{4A5A1811-DFF2-43F5-A7A7-22A66EF04CEB}" dt="2022-03-22T20:14:43.686" v="16257" actId="14100"/>
          <ac:cxnSpMkLst>
            <pc:docMk/>
            <pc:sldMk cId="88195222" sldId="2145706691"/>
            <ac:cxnSpMk id="24" creationId="{7479C3A5-0B3A-45AB-A779-91C6A72446F6}"/>
          </ac:cxnSpMkLst>
        </pc:cxnChg>
      </pc:sldChg>
      <pc:sldChg chg="addSp delSp modSp add mod ord">
        <pc:chgData name="Daniel Barnes" userId="b303a15ee67145ed" providerId="LiveId" clId="{4A5A1811-DFF2-43F5-A7A7-22A66EF04CEB}" dt="2022-04-02T21:26:56.392" v="19551"/>
        <pc:sldMkLst>
          <pc:docMk/>
          <pc:sldMk cId="3980941400" sldId="2145706692"/>
        </pc:sldMkLst>
        <pc:spChg chg="mod">
          <ac:chgData name="Daniel Barnes" userId="b303a15ee67145ed" providerId="LiveId" clId="{4A5A1811-DFF2-43F5-A7A7-22A66EF04CEB}" dt="2022-03-22T20:16:26.721" v="16311" actId="20577"/>
          <ac:spMkLst>
            <pc:docMk/>
            <pc:sldMk cId="3980941400" sldId="2145706692"/>
            <ac:spMk id="2" creationId="{0107FA66-646B-42C0-A453-9C2949F7188C}"/>
          </ac:spMkLst>
        </pc:spChg>
        <pc:spChg chg="mod">
          <ac:chgData name="Daniel Barnes" userId="b303a15ee67145ed" providerId="LiveId" clId="{4A5A1811-DFF2-43F5-A7A7-22A66EF04CEB}" dt="2022-03-22T20:19:58.777" v="16507" actId="14100"/>
          <ac:spMkLst>
            <pc:docMk/>
            <pc:sldMk cId="3980941400" sldId="2145706692"/>
            <ac:spMk id="3" creationId="{E6EB4016-53BF-47E2-8C18-4CAA9DE4C1F2}"/>
          </ac:spMkLst>
        </pc:spChg>
        <pc:spChg chg="add mod">
          <ac:chgData name="Daniel Barnes" userId="b303a15ee67145ed" providerId="LiveId" clId="{4A5A1811-DFF2-43F5-A7A7-22A66EF04CEB}" dt="2022-03-22T20:19:43.545" v="16505" actId="1076"/>
          <ac:spMkLst>
            <pc:docMk/>
            <pc:sldMk cId="3980941400" sldId="2145706692"/>
            <ac:spMk id="37" creationId="{80D44313-C0AE-4654-9D60-DEC2AF70D33D}"/>
          </ac:spMkLst>
        </pc:spChg>
        <pc:spChg chg="add mod">
          <ac:chgData name="Daniel Barnes" userId="b303a15ee67145ed" providerId="LiveId" clId="{4A5A1811-DFF2-43F5-A7A7-22A66EF04CEB}" dt="2022-03-22T20:23:50.563" v="16595" actId="14100"/>
          <ac:spMkLst>
            <pc:docMk/>
            <pc:sldMk cId="3980941400" sldId="2145706692"/>
            <ac:spMk id="39" creationId="{44CF0C46-6155-4C75-A554-8D2029DED5AE}"/>
          </ac:spMkLst>
        </pc:spChg>
        <pc:spChg chg="add mod">
          <ac:chgData name="Daniel Barnes" userId="b303a15ee67145ed" providerId="LiveId" clId="{4A5A1811-DFF2-43F5-A7A7-22A66EF04CEB}" dt="2022-03-22T20:23:16.309" v="16592" actId="1076"/>
          <ac:spMkLst>
            <pc:docMk/>
            <pc:sldMk cId="3980941400" sldId="2145706692"/>
            <ac:spMk id="40" creationId="{2F38EB93-4343-4D23-962B-7E16FEFDB7D0}"/>
          </ac:spMkLst>
        </pc:spChg>
        <pc:spChg chg="add mod">
          <ac:chgData name="Daniel Barnes" userId="b303a15ee67145ed" providerId="LiveId" clId="{4A5A1811-DFF2-43F5-A7A7-22A66EF04CEB}" dt="2022-03-22T20:23:08.765" v="16590" actId="14100"/>
          <ac:spMkLst>
            <pc:docMk/>
            <pc:sldMk cId="3980941400" sldId="2145706692"/>
            <ac:spMk id="41" creationId="{17C6D80A-8CB8-43E7-919A-881ECCFB1F0F}"/>
          </ac:spMkLst>
        </pc:spChg>
        <pc:grpChg chg="add del mod">
          <ac:chgData name="Daniel Barnes" userId="b303a15ee67145ed" providerId="LiveId" clId="{4A5A1811-DFF2-43F5-A7A7-22A66EF04CEB}" dt="2022-03-22T20:08:33.354" v="16185" actId="478"/>
          <ac:grpSpMkLst>
            <pc:docMk/>
            <pc:sldMk cId="3980941400" sldId="2145706692"/>
            <ac:grpSpMk id="10" creationId="{F707D6E7-F397-499E-B92D-BB82FEEA7C61}"/>
          </ac:grpSpMkLst>
        </pc:grpChg>
        <pc:grpChg chg="add del mod">
          <ac:chgData name="Daniel Barnes" userId="b303a15ee67145ed" providerId="LiveId" clId="{4A5A1811-DFF2-43F5-A7A7-22A66EF04CEB}" dt="2022-03-22T20:08:36.096" v="16188" actId="478"/>
          <ac:grpSpMkLst>
            <pc:docMk/>
            <pc:sldMk cId="3980941400" sldId="2145706692"/>
            <ac:grpSpMk id="13" creationId="{55E113D6-50AB-49C7-847A-94BA5C29B685}"/>
          </ac:grpSpMkLst>
        </pc:grpChg>
        <pc:picChg chg="add mod modCrop">
          <ac:chgData name="Daniel Barnes" userId="b303a15ee67145ed" providerId="LiveId" clId="{4A5A1811-DFF2-43F5-A7A7-22A66EF04CEB}" dt="2022-03-22T20:13:49.352" v="16247" actId="1036"/>
          <ac:picMkLst>
            <pc:docMk/>
            <pc:sldMk cId="3980941400" sldId="2145706692"/>
            <ac:picMk id="5" creationId="{72AA3B8A-3CD7-47BB-B21C-38E0FA0819A7}"/>
          </ac:picMkLst>
        </pc:picChg>
        <pc:picChg chg="add del mod">
          <ac:chgData name="Daniel Barnes" userId="b303a15ee67145ed" providerId="LiveId" clId="{4A5A1811-DFF2-43F5-A7A7-22A66EF04CEB}" dt="2022-03-22T20:08:33.354" v="16185" actId="478"/>
          <ac:picMkLst>
            <pc:docMk/>
            <pc:sldMk cId="3980941400" sldId="2145706692"/>
            <ac:picMk id="7" creationId="{4AD459CC-D0E5-4578-919A-3266F67F5D13}"/>
          </ac:picMkLst>
        </pc:picChg>
        <pc:picChg chg="add del mod ord topLvl">
          <ac:chgData name="Daniel Barnes" userId="b303a15ee67145ed" providerId="LiveId" clId="{4A5A1811-DFF2-43F5-A7A7-22A66EF04CEB}" dt="2022-03-22T20:08:36.096" v="16188" actId="478"/>
          <ac:picMkLst>
            <pc:docMk/>
            <pc:sldMk cId="3980941400" sldId="2145706692"/>
            <ac:picMk id="9" creationId="{59AF5970-4B86-45A6-8FB3-3E4E990528EC}"/>
          </ac:picMkLst>
        </pc:picChg>
        <pc:picChg chg="add mod ord topLvl modCrop">
          <ac:chgData name="Daniel Barnes" userId="b303a15ee67145ed" providerId="LiveId" clId="{4A5A1811-DFF2-43F5-A7A7-22A66EF04CEB}" dt="2022-03-22T20:19:32.719" v="16503" actId="1038"/>
          <ac:picMkLst>
            <pc:docMk/>
            <pc:sldMk cId="3980941400" sldId="2145706692"/>
            <ac:picMk id="12" creationId="{AF5D76AB-E091-47AB-A966-C5CD296A8B48}"/>
          </ac:picMkLst>
        </pc:picChg>
        <pc:picChg chg="add mod modCrop">
          <ac:chgData name="Daniel Barnes" userId="b303a15ee67145ed" providerId="LiveId" clId="{4A5A1811-DFF2-43F5-A7A7-22A66EF04CEB}" dt="2022-03-22T20:19:23.694" v="16499" actId="1076"/>
          <ac:picMkLst>
            <pc:docMk/>
            <pc:sldMk cId="3980941400" sldId="2145706692"/>
            <ac:picMk id="14" creationId="{AECC085B-B9D2-4EAC-82D4-CB8F3EE4508D}"/>
          </ac:picMkLst>
        </pc:picChg>
        <pc:picChg chg="add mod">
          <ac:chgData name="Daniel Barnes" userId="b303a15ee67145ed" providerId="LiveId" clId="{4A5A1811-DFF2-43F5-A7A7-22A66EF04CEB}" dt="2022-03-22T20:13:45.120" v="16245" actId="1036"/>
          <ac:picMkLst>
            <pc:docMk/>
            <pc:sldMk cId="3980941400" sldId="2145706692"/>
            <ac:picMk id="16" creationId="{B62D8F57-0A7F-4E3A-9FD1-1C052BAC7AAD}"/>
          </ac:picMkLst>
        </pc:picChg>
        <pc:picChg chg="add mod">
          <ac:chgData name="Daniel Barnes" userId="b303a15ee67145ed" providerId="LiveId" clId="{4A5A1811-DFF2-43F5-A7A7-22A66EF04CEB}" dt="2022-03-22T20:13:45.120" v="16245" actId="1036"/>
          <ac:picMkLst>
            <pc:docMk/>
            <pc:sldMk cId="3980941400" sldId="2145706692"/>
            <ac:picMk id="18" creationId="{E042C343-0EF8-49CE-B308-CDA647A30756}"/>
          </ac:picMkLst>
        </pc:picChg>
        <pc:cxnChg chg="add mod">
          <ac:chgData name="Daniel Barnes" userId="b303a15ee67145ed" providerId="LiveId" clId="{4A5A1811-DFF2-43F5-A7A7-22A66EF04CEB}" dt="2022-03-22T20:23:09.124" v="16591" actId="14100"/>
          <ac:cxnSpMkLst>
            <pc:docMk/>
            <pc:sldMk cId="3980941400" sldId="2145706692"/>
            <ac:cxnSpMk id="19" creationId="{CA010C29-FACA-4FCC-8071-A538F22931E5}"/>
          </ac:cxnSpMkLst>
        </pc:cxnChg>
        <pc:cxnChg chg="add mod">
          <ac:chgData name="Daniel Barnes" userId="b303a15ee67145ed" providerId="LiveId" clId="{4A5A1811-DFF2-43F5-A7A7-22A66EF04CEB}" dt="2022-03-22T20:23:22.753" v="16593" actId="14100"/>
          <ac:cxnSpMkLst>
            <pc:docMk/>
            <pc:sldMk cId="3980941400" sldId="2145706692"/>
            <ac:cxnSpMk id="28" creationId="{846C6886-0DA4-41B4-9089-8CC8574CAC1F}"/>
          </ac:cxnSpMkLst>
        </pc:cxnChg>
        <pc:cxnChg chg="add mod">
          <ac:chgData name="Daniel Barnes" userId="b303a15ee67145ed" providerId="LiveId" clId="{4A5A1811-DFF2-43F5-A7A7-22A66EF04CEB}" dt="2022-03-22T20:23:34.160" v="16594" actId="14100"/>
          <ac:cxnSpMkLst>
            <pc:docMk/>
            <pc:sldMk cId="3980941400" sldId="2145706692"/>
            <ac:cxnSpMk id="33" creationId="{BFFCB056-11ED-4BB9-8976-35C2C46E8C91}"/>
          </ac:cxnSpMkLst>
        </pc:cxnChg>
      </pc:sldChg>
      <pc:sldChg chg="addSp delSp modSp add mod ord">
        <pc:chgData name="Daniel Barnes" userId="b303a15ee67145ed" providerId="LiveId" clId="{4A5A1811-DFF2-43F5-A7A7-22A66EF04CEB}" dt="2022-04-02T21:26:56.392" v="19551"/>
        <pc:sldMkLst>
          <pc:docMk/>
          <pc:sldMk cId="1561312164" sldId="2145706693"/>
        </pc:sldMkLst>
        <pc:spChg chg="mod">
          <ac:chgData name="Daniel Barnes" userId="b303a15ee67145ed" providerId="LiveId" clId="{4A5A1811-DFF2-43F5-A7A7-22A66EF04CEB}" dt="2022-03-22T20:31:56.473" v="16669" actId="20577"/>
          <ac:spMkLst>
            <pc:docMk/>
            <pc:sldMk cId="1561312164" sldId="2145706693"/>
            <ac:spMk id="2" creationId="{0107FA66-646B-42C0-A453-9C2949F7188C}"/>
          </ac:spMkLst>
        </pc:spChg>
        <pc:spChg chg="mod">
          <ac:chgData name="Daniel Barnes" userId="b303a15ee67145ed" providerId="LiveId" clId="{4A5A1811-DFF2-43F5-A7A7-22A66EF04CEB}" dt="2022-03-22T20:56:02.390" v="17491" actId="1035"/>
          <ac:spMkLst>
            <pc:docMk/>
            <pc:sldMk cId="1561312164" sldId="2145706693"/>
            <ac:spMk id="3" creationId="{E6EB4016-53BF-47E2-8C18-4CAA9DE4C1F2}"/>
          </ac:spMkLst>
        </pc:spChg>
        <pc:spChg chg="add del mod">
          <ac:chgData name="Daniel Barnes" userId="b303a15ee67145ed" providerId="LiveId" clId="{4A5A1811-DFF2-43F5-A7A7-22A66EF04CEB}" dt="2022-03-22T20:50:25.593" v="17229" actId="478"/>
          <ac:spMkLst>
            <pc:docMk/>
            <pc:sldMk cId="1561312164" sldId="2145706693"/>
            <ac:spMk id="11" creationId="{6FEA70DD-A8AC-4B4C-9631-5A417F0F42A1}"/>
          </ac:spMkLst>
        </pc:spChg>
        <pc:spChg chg="add mod">
          <ac:chgData name="Daniel Barnes" userId="b303a15ee67145ed" providerId="LiveId" clId="{4A5A1811-DFF2-43F5-A7A7-22A66EF04CEB}" dt="2022-03-22T20:54:47.068" v="17465" actId="1076"/>
          <ac:spMkLst>
            <pc:docMk/>
            <pc:sldMk cId="1561312164" sldId="2145706693"/>
            <ac:spMk id="13" creationId="{30ABECE6-E742-4972-B0B5-12B361F46DE6}"/>
          </ac:spMkLst>
        </pc:spChg>
        <pc:picChg chg="add mod">
          <ac:chgData name="Daniel Barnes" userId="b303a15ee67145ed" providerId="LiveId" clId="{4A5A1811-DFF2-43F5-A7A7-22A66EF04CEB}" dt="2022-03-22T20:51:14.448" v="17242" actId="1076"/>
          <ac:picMkLst>
            <pc:docMk/>
            <pc:sldMk cId="1561312164" sldId="2145706693"/>
            <ac:picMk id="5" creationId="{6FAA4731-007A-47A7-94F7-484E3894C601}"/>
          </ac:picMkLst>
        </pc:picChg>
        <pc:picChg chg="add mod">
          <ac:chgData name="Daniel Barnes" userId="b303a15ee67145ed" providerId="LiveId" clId="{4A5A1811-DFF2-43F5-A7A7-22A66EF04CEB}" dt="2022-03-22T20:46:19.787" v="17047" actId="1076"/>
          <ac:picMkLst>
            <pc:docMk/>
            <pc:sldMk cId="1561312164" sldId="2145706693"/>
            <ac:picMk id="7" creationId="{9ED85067-8CA6-4F75-9A4E-74946631A5FB}"/>
          </ac:picMkLst>
        </pc:picChg>
        <pc:picChg chg="add mod">
          <ac:chgData name="Daniel Barnes" userId="b303a15ee67145ed" providerId="LiveId" clId="{4A5A1811-DFF2-43F5-A7A7-22A66EF04CEB}" dt="2022-03-22T20:53:54.260" v="17377" actId="1076"/>
          <ac:picMkLst>
            <pc:docMk/>
            <pc:sldMk cId="1561312164" sldId="2145706693"/>
            <ac:picMk id="9" creationId="{A04E53BE-7195-40F2-8D36-E84661056391}"/>
          </ac:picMkLst>
        </pc:picChg>
      </pc:sldChg>
      <pc:sldChg chg="modSp add mod ord">
        <pc:chgData name="Daniel Barnes" userId="b303a15ee67145ed" providerId="LiveId" clId="{4A5A1811-DFF2-43F5-A7A7-22A66EF04CEB}" dt="2022-04-02T21:26:56.392" v="19551"/>
        <pc:sldMkLst>
          <pc:docMk/>
          <pc:sldMk cId="3369312588" sldId="2145706694"/>
        </pc:sldMkLst>
        <pc:spChg chg="mod">
          <ac:chgData name="Daniel Barnes" userId="b303a15ee67145ed" providerId="LiveId" clId="{4A5A1811-DFF2-43F5-A7A7-22A66EF04CEB}" dt="2022-03-13T22:53:30.198" v="4384" actId="20577"/>
          <ac:spMkLst>
            <pc:docMk/>
            <pc:sldMk cId="3369312588" sldId="2145706694"/>
            <ac:spMk id="2" creationId="{0107FA66-646B-42C0-A453-9C2949F7188C}"/>
          </ac:spMkLst>
        </pc:spChg>
      </pc:sldChg>
      <pc:sldChg chg="addSp delSp modSp add mod ord">
        <pc:chgData name="Daniel Barnes" userId="b303a15ee67145ed" providerId="LiveId" clId="{4A5A1811-DFF2-43F5-A7A7-22A66EF04CEB}" dt="2022-04-02T21:26:56.392" v="19551"/>
        <pc:sldMkLst>
          <pc:docMk/>
          <pc:sldMk cId="2897864367" sldId="2145706695"/>
        </pc:sldMkLst>
        <pc:spChg chg="mod">
          <ac:chgData name="Daniel Barnes" userId="b303a15ee67145ed" providerId="LiveId" clId="{4A5A1811-DFF2-43F5-A7A7-22A66EF04CEB}" dt="2022-04-02T20:26:21.130" v="18378"/>
          <ac:spMkLst>
            <pc:docMk/>
            <pc:sldMk cId="2897864367" sldId="2145706695"/>
            <ac:spMk id="2" creationId="{0107FA66-646B-42C0-A453-9C2949F7188C}"/>
          </ac:spMkLst>
        </pc:spChg>
        <pc:spChg chg="mod">
          <ac:chgData name="Daniel Barnes" userId="b303a15ee67145ed" providerId="LiveId" clId="{4A5A1811-DFF2-43F5-A7A7-22A66EF04CEB}" dt="2022-04-02T20:30:28.271" v="18658" actId="20577"/>
          <ac:spMkLst>
            <pc:docMk/>
            <pc:sldMk cId="2897864367" sldId="2145706695"/>
            <ac:spMk id="3" creationId="{E6EB4016-53BF-47E2-8C18-4CAA9DE4C1F2}"/>
          </ac:spMkLst>
        </pc:spChg>
        <pc:picChg chg="add del mod">
          <ac:chgData name="Daniel Barnes" userId="b303a15ee67145ed" providerId="LiveId" clId="{4A5A1811-DFF2-43F5-A7A7-22A66EF04CEB}" dt="2022-04-02T19:57:36.858" v="17495" actId="478"/>
          <ac:picMkLst>
            <pc:docMk/>
            <pc:sldMk cId="2897864367" sldId="2145706695"/>
            <ac:picMk id="5" creationId="{569709A9-566C-49A0-A24E-10C00F3188D7}"/>
          </ac:picMkLst>
        </pc:picChg>
        <pc:picChg chg="add del mod">
          <ac:chgData name="Daniel Barnes" userId="b303a15ee67145ed" providerId="LiveId" clId="{4A5A1811-DFF2-43F5-A7A7-22A66EF04CEB}" dt="2022-04-02T19:58:01.416" v="17500" actId="478"/>
          <ac:picMkLst>
            <pc:docMk/>
            <pc:sldMk cId="2897864367" sldId="2145706695"/>
            <ac:picMk id="7" creationId="{5BCA7950-5FDD-4D37-B9E6-E472AD472AF1}"/>
          </ac:picMkLst>
        </pc:picChg>
        <pc:picChg chg="add mod ord">
          <ac:chgData name="Daniel Barnes" userId="b303a15ee67145ed" providerId="LiveId" clId="{4A5A1811-DFF2-43F5-A7A7-22A66EF04CEB}" dt="2022-04-02T20:25:58.449" v="18376" actId="14100"/>
          <ac:picMkLst>
            <pc:docMk/>
            <pc:sldMk cId="2897864367" sldId="2145706695"/>
            <ac:picMk id="9" creationId="{7A0F202F-B05D-4A96-A811-E17C7C676D8D}"/>
          </ac:picMkLst>
        </pc:picChg>
        <pc:picChg chg="add del mod">
          <ac:chgData name="Daniel Barnes" userId="b303a15ee67145ed" providerId="LiveId" clId="{4A5A1811-DFF2-43F5-A7A7-22A66EF04CEB}" dt="2022-04-02T20:25:37.025" v="18371" actId="478"/>
          <ac:picMkLst>
            <pc:docMk/>
            <pc:sldMk cId="2897864367" sldId="2145706695"/>
            <ac:picMk id="10" creationId="{AC8AE7F9-DED3-4458-9981-05C8A1F1283A}"/>
          </ac:picMkLst>
        </pc:picChg>
      </pc:sldChg>
      <pc:sldChg chg="addSp delSp modSp add mod ord setBg">
        <pc:chgData name="Daniel Barnes" userId="b303a15ee67145ed" providerId="LiveId" clId="{4A5A1811-DFF2-43F5-A7A7-22A66EF04CEB}" dt="2022-04-02T21:26:56.392" v="19551"/>
        <pc:sldMkLst>
          <pc:docMk/>
          <pc:sldMk cId="3317072384" sldId="2145706696"/>
        </pc:sldMkLst>
        <pc:spChg chg="mod">
          <ac:chgData name="Daniel Barnes" userId="b303a15ee67145ed" providerId="LiveId" clId="{4A5A1811-DFF2-43F5-A7A7-22A66EF04CEB}" dt="2022-04-02T20:24:07.672" v="18360" actId="20577"/>
          <ac:spMkLst>
            <pc:docMk/>
            <pc:sldMk cId="3317072384" sldId="2145706696"/>
            <ac:spMk id="2" creationId="{0107FA66-646B-42C0-A453-9C2949F7188C}"/>
          </ac:spMkLst>
        </pc:spChg>
        <pc:spChg chg="del mod">
          <ac:chgData name="Daniel Barnes" userId="b303a15ee67145ed" providerId="LiveId" clId="{4A5A1811-DFF2-43F5-A7A7-22A66EF04CEB}" dt="2022-04-02T20:28:11.681" v="18546" actId="478"/>
          <ac:spMkLst>
            <pc:docMk/>
            <pc:sldMk cId="3317072384" sldId="2145706696"/>
            <ac:spMk id="3" creationId="{E6EB4016-53BF-47E2-8C18-4CAA9DE4C1F2}"/>
          </ac:spMkLst>
        </pc:spChg>
        <pc:spChg chg="add mod">
          <ac:chgData name="Daniel Barnes" userId="b303a15ee67145ed" providerId="LiveId" clId="{4A5A1811-DFF2-43F5-A7A7-22A66EF04CEB}" dt="2022-04-02T20:23:48.330" v="18355" actId="20577"/>
          <ac:spMkLst>
            <pc:docMk/>
            <pc:sldMk cId="3317072384" sldId="2145706696"/>
            <ac:spMk id="6" creationId="{6B143B56-FB78-4699-ABB1-4666430E505E}"/>
          </ac:spMkLst>
        </pc:spChg>
        <pc:spChg chg="add del mod">
          <ac:chgData name="Daniel Barnes" userId="b303a15ee67145ed" providerId="LiveId" clId="{4A5A1811-DFF2-43F5-A7A7-22A66EF04CEB}" dt="2022-04-02T20:28:14.618" v="18548" actId="478"/>
          <ac:spMkLst>
            <pc:docMk/>
            <pc:sldMk cId="3317072384" sldId="2145706696"/>
            <ac:spMk id="8" creationId="{901F8BA1-1397-4DDD-8EC9-9EA5B8FE515C}"/>
          </ac:spMkLst>
        </pc:spChg>
        <pc:spChg chg="add mod">
          <ac:chgData name="Daniel Barnes" userId="b303a15ee67145ed" providerId="LiveId" clId="{4A5A1811-DFF2-43F5-A7A7-22A66EF04CEB}" dt="2022-04-02T20:30:30.976" v="18660" actId="20577"/>
          <ac:spMkLst>
            <pc:docMk/>
            <pc:sldMk cId="3317072384" sldId="2145706696"/>
            <ac:spMk id="9" creationId="{49AF9B85-3EFD-4AFE-94A4-8829DDD539C9}"/>
          </ac:spMkLst>
        </pc:spChg>
        <pc:picChg chg="add mod">
          <ac:chgData name="Daniel Barnes" userId="b303a15ee67145ed" providerId="LiveId" clId="{4A5A1811-DFF2-43F5-A7A7-22A66EF04CEB}" dt="2022-04-02T20:24:36.705" v="18363" actId="108"/>
          <ac:picMkLst>
            <pc:docMk/>
            <pc:sldMk cId="3317072384" sldId="2145706696"/>
            <ac:picMk id="5" creationId="{A30FB0D1-5109-4692-9BF6-206A16AE9F29}"/>
          </ac:picMkLst>
        </pc:picChg>
      </pc:sldChg>
      <pc:sldChg chg="addSp delSp modSp add mod ord">
        <pc:chgData name="Daniel Barnes" userId="b303a15ee67145ed" providerId="LiveId" clId="{4A5A1811-DFF2-43F5-A7A7-22A66EF04CEB}" dt="2022-04-02T21:26:56.392" v="19551"/>
        <pc:sldMkLst>
          <pc:docMk/>
          <pc:sldMk cId="3111992389" sldId="2145706697"/>
        </pc:sldMkLst>
        <pc:spChg chg="mod">
          <ac:chgData name="Daniel Barnes" userId="b303a15ee67145ed" providerId="LiveId" clId="{4A5A1811-DFF2-43F5-A7A7-22A66EF04CEB}" dt="2022-04-02T20:12:44.105" v="17687" actId="6549"/>
          <ac:spMkLst>
            <pc:docMk/>
            <pc:sldMk cId="3111992389" sldId="2145706697"/>
            <ac:spMk id="2" creationId="{0107FA66-646B-42C0-A453-9C2949F7188C}"/>
          </ac:spMkLst>
        </pc:spChg>
        <pc:spChg chg="mod">
          <ac:chgData name="Daniel Barnes" userId="b303a15ee67145ed" providerId="LiveId" clId="{4A5A1811-DFF2-43F5-A7A7-22A66EF04CEB}" dt="2022-04-02T20:21:20.661" v="18270" actId="20577"/>
          <ac:spMkLst>
            <pc:docMk/>
            <pc:sldMk cId="3111992389" sldId="2145706697"/>
            <ac:spMk id="3" creationId="{E6EB4016-53BF-47E2-8C18-4CAA9DE4C1F2}"/>
          </ac:spMkLst>
        </pc:spChg>
        <pc:spChg chg="add mod topLvl">
          <ac:chgData name="Daniel Barnes" userId="b303a15ee67145ed" providerId="LiveId" clId="{4A5A1811-DFF2-43F5-A7A7-22A66EF04CEB}" dt="2022-04-02T20:19:45.504" v="18262" actId="1038"/>
          <ac:spMkLst>
            <pc:docMk/>
            <pc:sldMk cId="3111992389" sldId="2145706697"/>
            <ac:spMk id="14" creationId="{BF897C79-8842-4030-B024-07ED06BBDBE1}"/>
          </ac:spMkLst>
        </pc:spChg>
        <pc:spChg chg="add mod topLvl">
          <ac:chgData name="Daniel Barnes" userId="b303a15ee67145ed" providerId="LiveId" clId="{4A5A1811-DFF2-43F5-A7A7-22A66EF04CEB}" dt="2022-04-02T20:19:39.473" v="18259" actId="1038"/>
          <ac:spMkLst>
            <pc:docMk/>
            <pc:sldMk cId="3111992389" sldId="2145706697"/>
            <ac:spMk id="15" creationId="{46586139-AE5C-472D-A07E-F0EAE9BE67BE}"/>
          </ac:spMkLst>
        </pc:spChg>
        <pc:spChg chg="add mod">
          <ac:chgData name="Daniel Barnes" userId="b303a15ee67145ed" providerId="LiveId" clId="{4A5A1811-DFF2-43F5-A7A7-22A66EF04CEB}" dt="2022-04-02T20:10:29.383" v="17609" actId="1076"/>
          <ac:spMkLst>
            <pc:docMk/>
            <pc:sldMk cId="3111992389" sldId="2145706697"/>
            <ac:spMk id="16" creationId="{F692F50B-038A-41B2-86BA-90EAF2CD9EEA}"/>
          </ac:spMkLst>
        </pc:spChg>
        <pc:spChg chg="add del mod">
          <ac:chgData name="Daniel Barnes" userId="b303a15ee67145ed" providerId="LiveId" clId="{4A5A1811-DFF2-43F5-A7A7-22A66EF04CEB}" dt="2022-04-02T20:10:40.055" v="17612" actId="1076"/>
          <ac:spMkLst>
            <pc:docMk/>
            <pc:sldMk cId="3111992389" sldId="2145706697"/>
            <ac:spMk id="17" creationId="{BD3B9AA0-D0D2-43E3-86A3-76CEFB47747A}"/>
          </ac:spMkLst>
        </pc:spChg>
        <pc:spChg chg="add mod">
          <ac:chgData name="Daniel Barnes" userId="b303a15ee67145ed" providerId="LiveId" clId="{4A5A1811-DFF2-43F5-A7A7-22A66EF04CEB}" dt="2022-04-02T20:19:45.504" v="18262" actId="1038"/>
          <ac:spMkLst>
            <pc:docMk/>
            <pc:sldMk cId="3111992389" sldId="2145706697"/>
            <ac:spMk id="23" creationId="{17FC7FF4-3442-4BB5-BF1C-9D892092DB5A}"/>
          </ac:spMkLst>
        </pc:spChg>
        <pc:spChg chg="add mod">
          <ac:chgData name="Daniel Barnes" userId="b303a15ee67145ed" providerId="LiveId" clId="{4A5A1811-DFF2-43F5-A7A7-22A66EF04CEB}" dt="2022-04-02T20:19:55.391" v="18265" actId="1037"/>
          <ac:spMkLst>
            <pc:docMk/>
            <pc:sldMk cId="3111992389" sldId="2145706697"/>
            <ac:spMk id="24" creationId="{5439B27C-493F-44E9-A644-15B842A0F7A6}"/>
          </ac:spMkLst>
        </pc:spChg>
        <pc:spChg chg="add mod">
          <ac:chgData name="Daniel Barnes" userId="b303a15ee67145ed" providerId="LiveId" clId="{4A5A1811-DFF2-43F5-A7A7-22A66EF04CEB}" dt="2022-04-02T20:23:43.687" v="18353" actId="20577"/>
          <ac:spMkLst>
            <pc:docMk/>
            <pc:sldMk cId="3111992389" sldId="2145706697"/>
            <ac:spMk id="25" creationId="{4E4FEF0D-9D63-4C02-B634-5BD8355AA49F}"/>
          </ac:spMkLst>
        </pc:spChg>
        <pc:grpChg chg="add del mod">
          <ac:chgData name="Daniel Barnes" userId="b303a15ee67145ed" providerId="LiveId" clId="{4A5A1811-DFF2-43F5-A7A7-22A66EF04CEB}" dt="2022-04-02T20:19:28.541" v="18250" actId="165"/>
          <ac:grpSpMkLst>
            <pc:docMk/>
            <pc:sldMk cId="3111992389" sldId="2145706697"/>
            <ac:grpSpMk id="18" creationId="{5349792C-8A23-4754-8A59-8D40524067CD}"/>
          </ac:grpSpMkLst>
        </pc:grpChg>
        <pc:picChg chg="add mod topLvl">
          <ac:chgData name="Daniel Barnes" userId="b303a15ee67145ed" providerId="LiveId" clId="{4A5A1811-DFF2-43F5-A7A7-22A66EF04CEB}" dt="2022-04-02T20:20:43.663" v="18267" actId="14100"/>
          <ac:picMkLst>
            <pc:docMk/>
            <pc:sldMk cId="3111992389" sldId="2145706697"/>
            <ac:picMk id="5" creationId="{AE02CF46-87EC-400B-B74C-E977A6801D2A}"/>
          </ac:picMkLst>
        </pc:picChg>
        <pc:picChg chg="add del mod">
          <ac:chgData name="Daniel Barnes" userId="b303a15ee67145ed" providerId="LiveId" clId="{4A5A1811-DFF2-43F5-A7A7-22A66EF04CEB}" dt="2022-04-02T20:09:55.737" v="17601" actId="478"/>
          <ac:picMkLst>
            <pc:docMk/>
            <pc:sldMk cId="3111992389" sldId="2145706697"/>
            <ac:picMk id="7" creationId="{5AA3EF26-1656-4422-9783-32F94F5B429D}"/>
          </ac:picMkLst>
        </pc:picChg>
        <pc:picChg chg="add del mod">
          <ac:chgData name="Daniel Barnes" userId="b303a15ee67145ed" providerId="LiveId" clId="{4A5A1811-DFF2-43F5-A7A7-22A66EF04CEB}" dt="2022-04-02T20:09:56.548" v="17602" actId="478"/>
          <ac:picMkLst>
            <pc:docMk/>
            <pc:sldMk cId="3111992389" sldId="2145706697"/>
            <ac:picMk id="9" creationId="{21DBC408-0CDD-418D-BE65-08F34CAF980F}"/>
          </ac:picMkLst>
        </pc:picChg>
        <pc:picChg chg="add mod ord modCrop">
          <ac:chgData name="Daniel Barnes" userId="b303a15ee67145ed" providerId="LiveId" clId="{4A5A1811-DFF2-43F5-A7A7-22A66EF04CEB}" dt="2022-04-02T20:20:50.482" v="18269" actId="108"/>
          <ac:picMkLst>
            <pc:docMk/>
            <pc:sldMk cId="3111992389" sldId="2145706697"/>
            <ac:picMk id="20" creationId="{0705F7CE-B552-4534-9640-58C6EBC2068A}"/>
          </ac:picMkLst>
        </pc:picChg>
        <pc:picChg chg="add mod ord modCrop">
          <ac:chgData name="Daniel Barnes" userId="b303a15ee67145ed" providerId="LiveId" clId="{4A5A1811-DFF2-43F5-A7A7-22A66EF04CEB}" dt="2022-04-02T20:20:48.513" v="18268" actId="108"/>
          <ac:picMkLst>
            <pc:docMk/>
            <pc:sldMk cId="3111992389" sldId="2145706697"/>
            <ac:picMk id="22" creationId="{AFE237DE-5068-439B-92F2-BC59C3C50818}"/>
          </ac:picMkLst>
        </pc:picChg>
        <pc:picChg chg="add del mod">
          <ac:chgData name="Daniel Barnes" userId="b303a15ee67145ed" providerId="LiveId" clId="{4A5A1811-DFF2-43F5-A7A7-22A66EF04CEB}" dt="2022-04-02T20:46:59.223" v="18676" actId="21"/>
          <ac:picMkLst>
            <pc:docMk/>
            <pc:sldMk cId="3111992389" sldId="2145706697"/>
            <ac:picMk id="26" creationId="{C198FA00-E6A9-458F-9E55-5EE8F85D07A5}"/>
          </ac:picMkLst>
        </pc:picChg>
        <pc:picChg chg="add del mod">
          <ac:chgData name="Daniel Barnes" userId="b303a15ee67145ed" providerId="LiveId" clId="{4A5A1811-DFF2-43F5-A7A7-22A66EF04CEB}" dt="2022-04-02T20:46:59.223" v="18676" actId="21"/>
          <ac:picMkLst>
            <pc:docMk/>
            <pc:sldMk cId="3111992389" sldId="2145706697"/>
            <ac:picMk id="27" creationId="{9542DF74-9295-4F8C-8B9F-F4B74574AF28}"/>
          </ac:picMkLst>
        </pc:picChg>
        <pc:cxnChg chg="add mod topLvl">
          <ac:chgData name="Daniel Barnes" userId="b303a15ee67145ed" providerId="LiveId" clId="{4A5A1811-DFF2-43F5-A7A7-22A66EF04CEB}" dt="2022-04-02T20:19:28.541" v="18250" actId="165"/>
          <ac:cxnSpMkLst>
            <pc:docMk/>
            <pc:sldMk cId="3111992389" sldId="2145706697"/>
            <ac:cxnSpMk id="11" creationId="{75848518-4DB7-4DAD-B600-4D01734CCAF1}"/>
          </ac:cxnSpMkLst>
        </pc:cxnChg>
      </pc:sldChg>
      <pc:sldChg chg="modSp add mod ord">
        <pc:chgData name="Daniel Barnes" userId="b303a15ee67145ed" providerId="LiveId" clId="{4A5A1811-DFF2-43F5-A7A7-22A66EF04CEB}" dt="2022-04-02T21:26:56.392" v="19551"/>
        <pc:sldMkLst>
          <pc:docMk/>
          <pc:sldMk cId="2338651362" sldId="2145706698"/>
        </pc:sldMkLst>
        <pc:spChg chg="mod">
          <ac:chgData name="Daniel Barnes" userId="b303a15ee67145ed" providerId="LiveId" clId="{4A5A1811-DFF2-43F5-A7A7-22A66EF04CEB}" dt="2022-03-13T22:53:43.394" v="4429" actId="20577"/>
          <ac:spMkLst>
            <pc:docMk/>
            <pc:sldMk cId="2338651362" sldId="2145706698"/>
            <ac:spMk id="2" creationId="{0107FA66-646B-42C0-A453-9C2949F7188C}"/>
          </ac:spMkLst>
        </pc:spChg>
      </pc:sldChg>
      <pc:sldChg chg="addSp delSp modSp add mod ord">
        <pc:chgData name="Daniel Barnes" userId="b303a15ee67145ed" providerId="LiveId" clId="{4A5A1811-DFF2-43F5-A7A7-22A66EF04CEB}" dt="2022-04-03T12:50:25.085" v="22211" actId="108"/>
        <pc:sldMkLst>
          <pc:docMk/>
          <pc:sldMk cId="1558719600" sldId="2145706699"/>
        </pc:sldMkLst>
        <pc:spChg chg="mod">
          <ac:chgData name="Daniel Barnes" userId="b303a15ee67145ed" providerId="LiveId" clId="{4A5A1811-DFF2-43F5-A7A7-22A66EF04CEB}" dt="2022-03-13T22:57:52.947" v="4511" actId="20577"/>
          <ac:spMkLst>
            <pc:docMk/>
            <pc:sldMk cId="1558719600" sldId="2145706699"/>
            <ac:spMk id="2" creationId="{0107FA66-646B-42C0-A453-9C2949F7188C}"/>
          </ac:spMkLst>
        </pc:spChg>
        <pc:spChg chg="mod">
          <ac:chgData name="Daniel Barnes" userId="b303a15ee67145ed" providerId="LiveId" clId="{4A5A1811-DFF2-43F5-A7A7-22A66EF04CEB}" dt="2022-04-03T12:00:11.528" v="21372" actId="20577"/>
          <ac:spMkLst>
            <pc:docMk/>
            <pc:sldMk cId="1558719600" sldId="2145706699"/>
            <ac:spMk id="3" creationId="{E6EB4016-53BF-47E2-8C18-4CAA9DE4C1F2}"/>
          </ac:spMkLst>
        </pc:spChg>
        <pc:picChg chg="add del mod">
          <ac:chgData name="Daniel Barnes" userId="b303a15ee67145ed" providerId="LiveId" clId="{4A5A1811-DFF2-43F5-A7A7-22A66EF04CEB}" dt="2022-04-03T11:53:17.487" v="21117" actId="478"/>
          <ac:picMkLst>
            <pc:docMk/>
            <pc:sldMk cId="1558719600" sldId="2145706699"/>
            <ac:picMk id="5" creationId="{D449BC2A-1F5A-46AC-A09C-461BB6129501}"/>
          </ac:picMkLst>
        </pc:picChg>
        <pc:picChg chg="add del mod">
          <ac:chgData name="Daniel Barnes" userId="b303a15ee67145ed" providerId="LiveId" clId="{4A5A1811-DFF2-43F5-A7A7-22A66EF04CEB}" dt="2022-04-03T11:52:15.136" v="21111" actId="478"/>
          <ac:picMkLst>
            <pc:docMk/>
            <pc:sldMk cId="1558719600" sldId="2145706699"/>
            <ac:picMk id="7" creationId="{70ECA8FF-45A6-49B7-8DE6-6463BF84AC61}"/>
          </ac:picMkLst>
        </pc:picChg>
        <pc:picChg chg="add del mod">
          <ac:chgData name="Daniel Barnes" userId="b303a15ee67145ed" providerId="LiveId" clId="{4A5A1811-DFF2-43F5-A7A7-22A66EF04CEB}" dt="2022-04-03T11:51:59.752" v="21107" actId="478"/>
          <ac:picMkLst>
            <pc:docMk/>
            <pc:sldMk cId="1558719600" sldId="2145706699"/>
            <ac:picMk id="9" creationId="{A52F289F-052E-44FA-808D-28373B105A4D}"/>
          </ac:picMkLst>
        </pc:picChg>
        <pc:picChg chg="add mod">
          <ac:chgData name="Daniel Barnes" userId="b303a15ee67145ed" providerId="LiveId" clId="{4A5A1811-DFF2-43F5-A7A7-22A66EF04CEB}" dt="2022-04-03T12:50:25.085" v="22211" actId="108"/>
          <ac:picMkLst>
            <pc:docMk/>
            <pc:sldMk cId="1558719600" sldId="2145706699"/>
            <ac:picMk id="11" creationId="{49D02367-7FCC-49B8-B6BB-E790CF50A9AE}"/>
          </ac:picMkLst>
        </pc:picChg>
        <pc:picChg chg="add mod">
          <ac:chgData name="Daniel Barnes" userId="b303a15ee67145ed" providerId="LiveId" clId="{4A5A1811-DFF2-43F5-A7A7-22A66EF04CEB}" dt="2022-04-03T12:00:39.439" v="21378" actId="14100"/>
          <ac:picMkLst>
            <pc:docMk/>
            <pc:sldMk cId="1558719600" sldId="2145706699"/>
            <ac:picMk id="13" creationId="{362C84B8-9330-40BA-81B8-2112EABB7F3E}"/>
          </ac:picMkLst>
        </pc:picChg>
        <pc:picChg chg="add mod">
          <ac:chgData name="Daniel Barnes" userId="b303a15ee67145ed" providerId="LiveId" clId="{4A5A1811-DFF2-43F5-A7A7-22A66EF04CEB}" dt="2022-04-03T12:00:39.439" v="21378" actId="14100"/>
          <ac:picMkLst>
            <pc:docMk/>
            <pc:sldMk cId="1558719600" sldId="2145706699"/>
            <ac:picMk id="15" creationId="{95696640-61FB-433D-8A2E-2CA09715389D}"/>
          </ac:picMkLst>
        </pc:picChg>
      </pc:sldChg>
      <pc:sldChg chg="addSp delSp modSp add mod ord">
        <pc:chgData name="Daniel Barnes" userId="b303a15ee67145ed" providerId="LiveId" clId="{4A5A1811-DFF2-43F5-A7A7-22A66EF04CEB}" dt="2022-04-03T12:05:33.450" v="21987" actId="20577"/>
        <pc:sldMkLst>
          <pc:docMk/>
          <pc:sldMk cId="4011433294" sldId="2145706700"/>
        </pc:sldMkLst>
        <pc:spChg chg="mod">
          <ac:chgData name="Daniel Barnes" userId="b303a15ee67145ed" providerId="LiveId" clId="{4A5A1811-DFF2-43F5-A7A7-22A66EF04CEB}" dt="2022-03-13T22:58:04" v="4514"/>
          <ac:spMkLst>
            <pc:docMk/>
            <pc:sldMk cId="4011433294" sldId="2145706700"/>
            <ac:spMk id="2" creationId="{0107FA66-646B-42C0-A453-9C2949F7188C}"/>
          </ac:spMkLst>
        </pc:spChg>
        <pc:spChg chg="mod">
          <ac:chgData name="Daniel Barnes" userId="b303a15ee67145ed" providerId="LiveId" clId="{4A5A1811-DFF2-43F5-A7A7-22A66EF04CEB}" dt="2022-04-03T12:05:33.450" v="21987" actId="20577"/>
          <ac:spMkLst>
            <pc:docMk/>
            <pc:sldMk cId="4011433294" sldId="2145706700"/>
            <ac:spMk id="3" creationId="{E6EB4016-53BF-47E2-8C18-4CAA9DE4C1F2}"/>
          </ac:spMkLst>
        </pc:spChg>
        <pc:picChg chg="add del mod">
          <ac:chgData name="Daniel Barnes" userId="b303a15ee67145ed" providerId="LiveId" clId="{4A5A1811-DFF2-43F5-A7A7-22A66EF04CEB}" dt="2022-04-03T11:36:57.303" v="21082" actId="478"/>
          <ac:picMkLst>
            <pc:docMk/>
            <pc:sldMk cId="4011433294" sldId="2145706700"/>
            <ac:picMk id="5" creationId="{900DCBEE-8D9C-462D-B313-1305906D59CA}"/>
          </ac:picMkLst>
        </pc:picChg>
        <pc:picChg chg="add del mod">
          <ac:chgData name="Daniel Barnes" userId="b303a15ee67145ed" providerId="LiveId" clId="{4A5A1811-DFF2-43F5-A7A7-22A66EF04CEB}" dt="2022-04-03T11:53:59.327" v="21125" actId="478"/>
          <ac:picMkLst>
            <pc:docMk/>
            <pc:sldMk cId="4011433294" sldId="2145706700"/>
            <ac:picMk id="7" creationId="{95EF5640-C15E-4773-B8AA-072EE469E2F5}"/>
          </ac:picMkLst>
        </pc:picChg>
        <pc:picChg chg="add del mod">
          <ac:chgData name="Daniel Barnes" userId="b303a15ee67145ed" providerId="LiveId" clId="{4A5A1811-DFF2-43F5-A7A7-22A66EF04CEB}" dt="2022-04-03T11:53:59.704" v="21126" actId="478"/>
          <ac:picMkLst>
            <pc:docMk/>
            <pc:sldMk cId="4011433294" sldId="2145706700"/>
            <ac:picMk id="9" creationId="{3158F67F-F9BB-43A8-A0B1-4DEED375A126}"/>
          </ac:picMkLst>
        </pc:picChg>
        <pc:picChg chg="add mod">
          <ac:chgData name="Daniel Barnes" userId="b303a15ee67145ed" providerId="LiveId" clId="{4A5A1811-DFF2-43F5-A7A7-22A66EF04CEB}" dt="2022-04-03T12:02:51.595" v="21741" actId="14100"/>
          <ac:picMkLst>
            <pc:docMk/>
            <pc:sldMk cId="4011433294" sldId="2145706700"/>
            <ac:picMk id="11" creationId="{38452BA8-55EA-471E-B267-F26925DD09CB}"/>
          </ac:picMkLst>
        </pc:picChg>
      </pc:sldChg>
      <pc:sldChg chg="addSp modSp add mod">
        <pc:chgData name="Daniel Barnes" userId="b303a15ee67145ed" providerId="LiveId" clId="{4A5A1811-DFF2-43F5-A7A7-22A66EF04CEB}" dt="2022-04-03T12:41:21.649" v="22108" actId="465"/>
        <pc:sldMkLst>
          <pc:docMk/>
          <pc:sldMk cId="3998632226" sldId="2145706701"/>
        </pc:sldMkLst>
        <pc:spChg chg="mod">
          <ac:chgData name="Daniel Barnes" userId="b303a15ee67145ed" providerId="LiveId" clId="{4A5A1811-DFF2-43F5-A7A7-22A66EF04CEB}" dt="2022-03-13T22:58:32.331" v="4546" actId="20577"/>
          <ac:spMkLst>
            <pc:docMk/>
            <pc:sldMk cId="3998632226" sldId="2145706701"/>
            <ac:spMk id="2" creationId="{0107FA66-646B-42C0-A453-9C2949F7188C}"/>
          </ac:spMkLst>
        </pc:spChg>
        <pc:spChg chg="mod">
          <ac:chgData name="Daniel Barnes" userId="b303a15ee67145ed" providerId="LiveId" clId="{4A5A1811-DFF2-43F5-A7A7-22A66EF04CEB}" dt="2022-04-03T12:40:36.512" v="22098" actId="14100"/>
          <ac:spMkLst>
            <pc:docMk/>
            <pc:sldMk cId="3998632226" sldId="2145706701"/>
            <ac:spMk id="3" creationId="{E6EB4016-53BF-47E2-8C18-4CAA9DE4C1F2}"/>
          </ac:spMkLst>
        </pc:spChg>
        <pc:grpChg chg="add mod">
          <ac:chgData name="Daniel Barnes" userId="b303a15ee67145ed" providerId="LiveId" clId="{4A5A1811-DFF2-43F5-A7A7-22A66EF04CEB}" dt="2022-04-03T12:41:19.354" v="22107" actId="12788"/>
          <ac:grpSpMkLst>
            <pc:docMk/>
            <pc:sldMk cId="3998632226" sldId="2145706701"/>
            <ac:grpSpMk id="10" creationId="{A279BAC3-BC82-4D04-A7E0-21C8A58695A6}"/>
          </ac:grpSpMkLst>
        </pc:grpChg>
        <pc:grpChg chg="add mod">
          <ac:chgData name="Daniel Barnes" userId="b303a15ee67145ed" providerId="LiveId" clId="{4A5A1811-DFF2-43F5-A7A7-22A66EF04CEB}" dt="2022-04-03T12:41:21.649" v="22108" actId="465"/>
          <ac:grpSpMkLst>
            <pc:docMk/>
            <pc:sldMk cId="3998632226" sldId="2145706701"/>
            <ac:grpSpMk id="11" creationId="{A564E096-29E5-4B66-AD8E-B2B2785A3592}"/>
          </ac:grpSpMkLst>
        </pc:grpChg>
        <pc:picChg chg="add mod">
          <ac:chgData name="Daniel Barnes" userId="b303a15ee67145ed" providerId="LiveId" clId="{4A5A1811-DFF2-43F5-A7A7-22A66EF04CEB}" dt="2022-04-03T12:41:19.354" v="22107" actId="12788"/>
          <ac:picMkLst>
            <pc:docMk/>
            <pc:sldMk cId="3998632226" sldId="2145706701"/>
            <ac:picMk id="4" creationId="{87AB9C7E-9F36-442F-B2CA-867B86B957A2}"/>
          </ac:picMkLst>
        </pc:picChg>
        <pc:picChg chg="add mod">
          <ac:chgData name="Daniel Barnes" userId="b303a15ee67145ed" providerId="LiveId" clId="{4A5A1811-DFF2-43F5-A7A7-22A66EF04CEB}" dt="2022-04-03T12:41:11.866" v="22106" actId="164"/>
          <ac:picMkLst>
            <pc:docMk/>
            <pc:sldMk cId="3998632226" sldId="2145706701"/>
            <ac:picMk id="5" creationId="{255572AB-0488-4295-9F76-6644A5353379}"/>
          </ac:picMkLst>
        </pc:picChg>
        <pc:picChg chg="add mod">
          <ac:chgData name="Daniel Barnes" userId="b303a15ee67145ed" providerId="LiveId" clId="{4A5A1811-DFF2-43F5-A7A7-22A66EF04CEB}" dt="2022-04-03T12:41:10.556" v="22105" actId="164"/>
          <ac:picMkLst>
            <pc:docMk/>
            <pc:sldMk cId="3998632226" sldId="2145706701"/>
            <ac:picMk id="6" creationId="{85E3C5A5-C061-4F25-A747-A2583DD8CD7F}"/>
          </ac:picMkLst>
        </pc:picChg>
        <pc:picChg chg="add mod">
          <ac:chgData name="Daniel Barnes" userId="b303a15ee67145ed" providerId="LiveId" clId="{4A5A1811-DFF2-43F5-A7A7-22A66EF04CEB}" dt="2022-04-03T12:41:11.866" v="22106" actId="164"/>
          <ac:picMkLst>
            <pc:docMk/>
            <pc:sldMk cId="3998632226" sldId="2145706701"/>
            <ac:picMk id="7" creationId="{A183B84E-793F-46C7-B885-28AB2EE58DC7}"/>
          </ac:picMkLst>
        </pc:picChg>
        <pc:picChg chg="add mod">
          <ac:chgData name="Daniel Barnes" userId="b303a15ee67145ed" providerId="LiveId" clId="{4A5A1811-DFF2-43F5-A7A7-22A66EF04CEB}" dt="2022-04-03T12:41:21.649" v="22108" actId="465"/>
          <ac:picMkLst>
            <pc:docMk/>
            <pc:sldMk cId="3998632226" sldId="2145706701"/>
            <ac:picMk id="8" creationId="{7FCC9948-E1E4-4C33-AD1B-66E1EFB60EA0}"/>
          </ac:picMkLst>
        </pc:picChg>
        <pc:picChg chg="add mod">
          <ac:chgData name="Daniel Barnes" userId="b303a15ee67145ed" providerId="LiveId" clId="{4A5A1811-DFF2-43F5-A7A7-22A66EF04CEB}" dt="2022-04-03T12:41:10.556" v="22105" actId="164"/>
          <ac:picMkLst>
            <pc:docMk/>
            <pc:sldMk cId="3998632226" sldId="2145706701"/>
            <ac:picMk id="9" creationId="{E238F02F-1A57-4F59-82AD-DA2E7484839C}"/>
          </ac:picMkLst>
        </pc:picChg>
      </pc:sldChg>
      <pc:sldChg chg="modSp add mod ord">
        <pc:chgData name="Daniel Barnes" userId="b303a15ee67145ed" providerId="LiveId" clId="{4A5A1811-DFF2-43F5-A7A7-22A66EF04CEB}" dt="2022-03-13T22:58:26.179" v="4531" actId="12789"/>
        <pc:sldMkLst>
          <pc:docMk/>
          <pc:sldMk cId="3308158797" sldId="2145706702"/>
        </pc:sldMkLst>
        <pc:spChg chg="mod">
          <ac:chgData name="Daniel Barnes" userId="b303a15ee67145ed" providerId="LiveId" clId="{4A5A1811-DFF2-43F5-A7A7-22A66EF04CEB}" dt="2022-03-13T22:58:26.179" v="4531" actId="12789"/>
          <ac:spMkLst>
            <pc:docMk/>
            <pc:sldMk cId="3308158797" sldId="2145706702"/>
            <ac:spMk id="2" creationId="{0107FA66-646B-42C0-A453-9C2949F7188C}"/>
          </ac:spMkLst>
        </pc:spChg>
      </pc:sldChg>
      <pc:sldChg chg="addSp delSp modSp add mod ord modClrScheme chgLayout">
        <pc:chgData name="Daniel Barnes" userId="b303a15ee67145ed" providerId="LiveId" clId="{4A5A1811-DFF2-43F5-A7A7-22A66EF04CEB}" dt="2022-03-13T23:10:35.576" v="4786" actId="13822"/>
        <pc:sldMkLst>
          <pc:docMk/>
          <pc:sldMk cId="2789718783" sldId="2145706703"/>
        </pc:sldMkLst>
        <pc:spChg chg="mod ord">
          <ac:chgData name="Daniel Barnes" userId="b303a15ee67145ed" providerId="LiveId" clId="{4A5A1811-DFF2-43F5-A7A7-22A66EF04CEB}" dt="2022-03-13T23:07:04.934" v="4746" actId="1076"/>
          <ac:spMkLst>
            <pc:docMk/>
            <pc:sldMk cId="2789718783" sldId="2145706703"/>
            <ac:spMk id="2" creationId="{0107FA66-646B-42C0-A453-9C2949F7188C}"/>
          </ac:spMkLst>
        </pc:spChg>
        <pc:spChg chg="add del mod ord">
          <ac:chgData name="Daniel Barnes" userId="b303a15ee67145ed" providerId="LiveId" clId="{4A5A1811-DFF2-43F5-A7A7-22A66EF04CEB}" dt="2022-03-13T22:59:57.377" v="4552" actId="700"/>
          <ac:spMkLst>
            <pc:docMk/>
            <pc:sldMk cId="2789718783" sldId="2145706703"/>
            <ac:spMk id="3" creationId="{82A72CA6-856A-496A-A396-5CC4B94A833E}"/>
          </ac:spMkLst>
        </pc:spChg>
        <pc:spChg chg="add del mod ord">
          <ac:chgData name="Daniel Barnes" userId="b303a15ee67145ed" providerId="LiveId" clId="{4A5A1811-DFF2-43F5-A7A7-22A66EF04CEB}" dt="2022-03-13T23:02:11.656" v="4652" actId="478"/>
          <ac:spMkLst>
            <pc:docMk/>
            <pc:sldMk cId="2789718783" sldId="2145706703"/>
            <ac:spMk id="4" creationId="{3528922B-13E5-4DC6-AE57-E7ECDE410C68}"/>
          </ac:spMkLst>
        </pc:spChg>
        <pc:spChg chg="add del mod ord">
          <ac:chgData name="Daniel Barnes" userId="b303a15ee67145ed" providerId="LiveId" clId="{4A5A1811-DFF2-43F5-A7A7-22A66EF04CEB}" dt="2022-03-13T23:01:19.958" v="4553"/>
          <ac:spMkLst>
            <pc:docMk/>
            <pc:sldMk cId="2789718783" sldId="2145706703"/>
            <ac:spMk id="5" creationId="{F06081CE-7541-43F4-9771-F2983EFEA7C6}"/>
          </ac:spMkLst>
        </pc:spChg>
        <pc:spChg chg="add mod">
          <ac:chgData name="Daniel Barnes" userId="b303a15ee67145ed" providerId="LiveId" clId="{4A5A1811-DFF2-43F5-A7A7-22A66EF04CEB}" dt="2022-03-13T23:10:13.947" v="4780" actId="13822"/>
          <ac:spMkLst>
            <pc:docMk/>
            <pc:sldMk cId="2789718783" sldId="2145706703"/>
            <ac:spMk id="7" creationId="{B30411E9-F855-4B0F-9D2C-22D62BEBFAA5}"/>
          </ac:spMkLst>
        </pc:spChg>
        <pc:spChg chg="add mod">
          <ac:chgData name="Daniel Barnes" userId="b303a15ee67145ed" providerId="LiveId" clId="{4A5A1811-DFF2-43F5-A7A7-22A66EF04CEB}" dt="2022-03-13T23:10:23.242" v="4782" actId="13822"/>
          <ac:spMkLst>
            <pc:docMk/>
            <pc:sldMk cId="2789718783" sldId="2145706703"/>
            <ac:spMk id="8" creationId="{6F7280D8-18F2-49ED-AED6-846EA92971CF}"/>
          </ac:spMkLst>
        </pc:spChg>
        <pc:spChg chg="add mod">
          <ac:chgData name="Daniel Barnes" userId="b303a15ee67145ed" providerId="LiveId" clId="{4A5A1811-DFF2-43F5-A7A7-22A66EF04CEB}" dt="2022-03-13T23:10:35.576" v="4786" actId="13822"/>
          <ac:spMkLst>
            <pc:docMk/>
            <pc:sldMk cId="2789718783" sldId="2145706703"/>
            <ac:spMk id="9" creationId="{B323FB2B-9F0E-40D7-9DF7-6512AA49013B}"/>
          </ac:spMkLst>
        </pc:spChg>
        <pc:picChg chg="add mod">
          <ac:chgData name="Daniel Barnes" userId="b303a15ee67145ed" providerId="LiveId" clId="{4A5A1811-DFF2-43F5-A7A7-22A66EF04CEB}" dt="2022-03-13T23:06:21.280" v="4737" actId="1076"/>
          <ac:picMkLst>
            <pc:docMk/>
            <pc:sldMk cId="2789718783" sldId="2145706703"/>
            <ac:picMk id="6" creationId="{297D654A-DCC7-4639-9E61-193D548EC7B8}"/>
          </ac:picMkLst>
        </pc:picChg>
      </pc:sldChg>
      <pc:sldChg chg="addSp delSp modSp add mod ord">
        <pc:chgData name="Daniel Barnes" userId="b303a15ee67145ed" providerId="LiveId" clId="{4A5A1811-DFF2-43F5-A7A7-22A66EF04CEB}" dt="2022-04-03T12:27:27.545" v="21999" actId="20577"/>
        <pc:sldMkLst>
          <pc:docMk/>
          <pc:sldMk cId="914715929" sldId="2145706704"/>
        </pc:sldMkLst>
        <pc:spChg chg="mod">
          <ac:chgData name="Daniel Barnes" userId="b303a15ee67145ed" providerId="LiveId" clId="{4A5A1811-DFF2-43F5-A7A7-22A66EF04CEB}" dt="2022-03-21T22:30:12.404" v="8902" actId="20577"/>
          <ac:spMkLst>
            <pc:docMk/>
            <pc:sldMk cId="914715929" sldId="2145706704"/>
            <ac:spMk id="2" creationId="{0107FA66-646B-42C0-A453-9C2949F7188C}"/>
          </ac:spMkLst>
        </pc:spChg>
        <pc:spChg chg="mod">
          <ac:chgData name="Daniel Barnes" userId="b303a15ee67145ed" providerId="LiveId" clId="{4A5A1811-DFF2-43F5-A7A7-22A66EF04CEB}" dt="2022-04-03T12:27:27.545" v="21999" actId="20577"/>
          <ac:spMkLst>
            <pc:docMk/>
            <pc:sldMk cId="914715929" sldId="2145706704"/>
            <ac:spMk id="3" creationId="{E6EB4016-53BF-47E2-8C18-4CAA9DE4C1F2}"/>
          </ac:spMkLst>
        </pc:spChg>
        <pc:picChg chg="del">
          <ac:chgData name="Daniel Barnes" userId="b303a15ee67145ed" providerId="LiveId" clId="{4A5A1811-DFF2-43F5-A7A7-22A66EF04CEB}" dt="2022-03-21T22:30:13.716" v="8903" actId="478"/>
          <ac:picMkLst>
            <pc:docMk/>
            <pc:sldMk cId="914715929" sldId="2145706704"/>
            <ac:picMk id="5" creationId="{D7DE6A59-7FE8-4904-BC04-04086A45EBB8}"/>
          </ac:picMkLst>
        </pc:picChg>
        <pc:picChg chg="add del mod">
          <ac:chgData name="Daniel Barnes" userId="b303a15ee67145ed" providerId="LiveId" clId="{4A5A1811-DFF2-43F5-A7A7-22A66EF04CEB}" dt="2022-03-21T22:30:31.005" v="8908" actId="478"/>
          <ac:picMkLst>
            <pc:docMk/>
            <pc:sldMk cId="914715929" sldId="2145706704"/>
            <ac:picMk id="6" creationId="{59000BE3-B04B-40DF-96E3-A49E21DDE94C}"/>
          </ac:picMkLst>
        </pc:picChg>
        <pc:picChg chg="add mod">
          <ac:chgData name="Daniel Barnes" userId="b303a15ee67145ed" providerId="LiveId" clId="{4A5A1811-DFF2-43F5-A7A7-22A66EF04CEB}" dt="2022-04-02T20:33:40.857" v="18669" actId="14100"/>
          <ac:picMkLst>
            <pc:docMk/>
            <pc:sldMk cId="914715929" sldId="2145706704"/>
            <ac:picMk id="8" creationId="{0F7D7359-C671-4EFA-B6BA-5AB82E5E4F0B}"/>
          </ac:picMkLst>
        </pc:picChg>
      </pc:sldChg>
      <pc:sldChg chg="addSp modSp add del mod modClrScheme chgLayout">
        <pc:chgData name="Daniel Barnes" userId="b303a15ee67145ed" providerId="LiveId" clId="{4A5A1811-DFF2-43F5-A7A7-22A66EF04CEB}" dt="2022-03-13T23:04:01.783" v="4696" actId="47"/>
        <pc:sldMkLst>
          <pc:docMk/>
          <pc:sldMk cId="2412971563" sldId="2145706704"/>
        </pc:sldMkLst>
        <pc:spChg chg="mod ord">
          <ac:chgData name="Daniel Barnes" userId="b303a15ee67145ed" providerId="LiveId" clId="{4A5A1811-DFF2-43F5-A7A7-22A66EF04CEB}" dt="2022-03-13T23:03:59.349" v="4695" actId="700"/>
          <ac:spMkLst>
            <pc:docMk/>
            <pc:sldMk cId="2412971563" sldId="2145706704"/>
            <ac:spMk id="2" creationId="{0107FA66-646B-42C0-A453-9C2949F7188C}"/>
          </ac:spMkLst>
        </pc:spChg>
        <pc:spChg chg="add mod ord">
          <ac:chgData name="Daniel Barnes" userId="b303a15ee67145ed" providerId="LiveId" clId="{4A5A1811-DFF2-43F5-A7A7-22A66EF04CEB}" dt="2022-03-13T23:03:59.349" v="4695" actId="700"/>
          <ac:spMkLst>
            <pc:docMk/>
            <pc:sldMk cId="2412971563" sldId="2145706704"/>
            <ac:spMk id="3" creationId="{DFC523C9-E807-41DF-9F7A-CC26A3F5DD4E}"/>
          </ac:spMkLst>
        </pc:spChg>
        <pc:spChg chg="add mod ord">
          <ac:chgData name="Daniel Barnes" userId="b303a15ee67145ed" providerId="LiveId" clId="{4A5A1811-DFF2-43F5-A7A7-22A66EF04CEB}" dt="2022-03-13T23:03:59.349" v="4695" actId="700"/>
          <ac:spMkLst>
            <pc:docMk/>
            <pc:sldMk cId="2412971563" sldId="2145706704"/>
            <ac:spMk id="4" creationId="{9676CB81-0C2F-45CA-8E50-621F9722AAF3}"/>
          </ac:spMkLst>
        </pc:spChg>
        <pc:spChg chg="add mod ord">
          <ac:chgData name="Daniel Barnes" userId="b303a15ee67145ed" providerId="LiveId" clId="{4A5A1811-DFF2-43F5-A7A7-22A66EF04CEB}" dt="2022-03-13T23:03:59.349" v="4695" actId="700"/>
          <ac:spMkLst>
            <pc:docMk/>
            <pc:sldMk cId="2412971563" sldId="2145706704"/>
            <ac:spMk id="5" creationId="{07630C71-23C9-4BF7-ACAA-5E45FE736FEA}"/>
          </ac:spMkLst>
        </pc:spChg>
        <pc:spChg chg="add mod ord">
          <ac:chgData name="Daniel Barnes" userId="b303a15ee67145ed" providerId="LiveId" clId="{4A5A1811-DFF2-43F5-A7A7-22A66EF04CEB}" dt="2022-03-13T23:03:59.349" v="4695" actId="700"/>
          <ac:spMkLst>
            <pc:docMk/>
            <pc:sldMk cId="2412971563" sldId="2145706704"/>
            <ac:spMk id="7" creationId="{9994C9B5-1BC1-4C6C-A83B-5B80A4271A08}"/>
          </ac:spMkLst>
        </pc:spChg>
        <pc:spChg chg="add mod ord">
          <ac:chgData name="Daniel Barnes" userId="b303a15ee67145ed" providerId="LiveId" clId="{4A5A1811-DFF2-43F5-A7A7-22A66EF04CEB}" dt="2022-03-13T23:03:59.349" v="4695" actId="700"/>
          <ac:spMkLst>
            <pc:docMk/>
            <pc:sldMk cId="2412971563" sldId="2145706704"/>
            <ac:spMk id="8" creationId="{CEAFF049-AD75-4D25-94CF-3590C7388FFC}"/>
          </ac:spMkLst>
        </pc:spChg>
        <pc:spChg chg="add mod ord">
          <ac:chgData name="Daniel Barnes" userId="b303a15ee67145ed" providerId="LiveId" clId="{4A5A1811-DFF2-43F5-A7A7-22A66EF04CEB}" dt="2022-03-13T23:03:59.349" v="4695" actId="700"/>
          <ac:spMkLst>
            <pc:docMk/>
            <pc:sldMk cId="2412971563" sldId="2145706704"/>
            <ac:spMk id="9" creationId="{CA696232-2C94-4CE1-9B00-5B12F1079E2C}"/>
          </ac:spMkLst>
        </pc:spChg>
        <pc:picChg chg="mod ord">
          <ac:chgData name="Daniel Barnes" userId="b303a15ee67145ed" providerId="LiveId" clId="{4A5A1811-DFF2-43F5-A7A7-22A66EF04CEB}" dt="2022-03-13T23:03:59.349" v="4695" actId="700"/>
          <ac:picMkLst>
            <pc:docMk/>
            <pc:sldMk cId="2412971563" sldId="2145706704"/>
            <ac:picMk id="6" creationId="{297D654A-DCC7-4639-9E61-193D548EC7B8}"/>
          </ac:picMkLst>
        </pc:picChg>
      </pc:sldChg>
      <pc:sldChg chg="addSp delSp modSp add mod ord">
        <pc:chgData name="Daniel Barnes" userId="b303a15ee67145ed" providerId="LiveId" clId="{4A5A1811-DFF2-43F5-A7A7-22A66EF04CEB}" dt="2022-04-03T12:49:07.138" v="22191" actId="108"/>
        <pc:sldMkLst>
          <pc:docMk/>
          <pc:sldMk cId="1681281583" sldId="2145706705"/>
        </pc:sldMkLst>
        <pc:spChg chg="mod">
          <ac:chgData name="Daniel Barnes" userId="b303a15ee67145ed" providerId="LiveId" clId="{4A5A1811-DFF2-43F5-A7A7-22A66EF04CEB}" dt="2022-03-21T22:58:13.236" v="11207" actId="20577"/>
          <ac:spMkLst>
            <pc:docMk/>
            <pc:sldMk cId="1681281583" sldId="2145706705"/>
            <ac:spMk id="2" creationId="{0107FA66-646B-42C0-A453-9C2949F7188C}"/>
          </ac:spMkLst>
        </pc:spChg>
        <pc:spChg chg="mod">
          <ac:chgData name="Daniel Barnes" userId="b303a15ee67145ed" providerId="LiveId" clId="{4A5A1811-DFF2-43F5-A7A7-22A66EF04CEB}" dt="2022-03-21T23:37:36.587" v="12593" actId="2711"/>
          <ac:spMkLst>
            <pc:docMk/>
            <pc:sldMk cId="1681281583" sldId="2145706705"/>
            <ac:spMk id="3" creationId="{E6EB4016-53BF-47E2-8C18-4CAA9DE4C1F2}"/>
          </ac:spMkLst>
        </pc:spChg>
        <pc:spChg chg="add mod">
          <ac:chgData name="Daniel Barnes" userId="b303a15ee67145ed" providerId="LiveId" clId="{4A5A1811-DFF2-43F5-A7A7-22A66EF04CEB}" dt="2022-03-21T23:26:24.322" v="11833"/>
          <ac:spMkLst>
            <pc:docMk/>
            <pc:sldMk cId="1681281583" sldId="2145706705"/>
            <ac:spMk id="13" creationId="{95549343-9BDE-4AD6-956A-51D7C55E2D4D}"/>
          </ac:spMkLst>
        </pc:spChg>
        <pc:picChg chg="del">
          <ac:chgData name="Daniel Barnes" userId="b303a15ee67145ed" providerId="LiveId" clId="{4A5A1811-DFF2-43F5-A7A7-22A66EF04CEB}" dt="2022-03-21T22:54:42.887" v="11164" actId="478"/>
          <ac:picMkLst>
            <pc:docMk/>
            <pc:sldMk cId="1681281583" sldId="2145706705"/>
            <ac:picMk id="5" creationId="{2137E22D-7AD0-46D4-811E-8FD3E9E4F3A8}"/>
          </ac:picMkLst>
        </pc:picChg>
        <pc:picChg chg="add del mod">
          <ac:chgData name="Daniel Barnes" userId="b303a15ee67145ed" providerId="LiveId" clId="{4A5A1811-DFF2-43F5-A7A7-22A66EF04CEB}" dt="2022-03-21T23:23:39.578" v="11783" actId="478"/>
          <ac:picMkLst>
            <pc:docMk/>
            <pc:sldMk cId="1681281583" sldId="2145706705"/>
            <ac:picMk id="6" creationId="{3FA79C4B-DD0C-426E-B8D1-C5BC3B766FF6}"/>
          </ac:picMkLst>
        </pc:picChg>
        <pc:picChg chg="add del mod">
          <ac:chgData name="Daniel Barnes" userId="b303a15ee67145ed" providerId="LiveId" clId="{4A5A1811-DFF2-43F5-A7A7-22A66EF04CEB}" dt="2022-03-21T23:23:55.113" v="11789" actId="478"/>
          <ac:picMkLst>
            <pc:docMk/>
            <pc:sldMk cId="1681281583" sldId="2145706705"/>
            <ac:picMk id="8" creationId="{DA8B8A11-421F-48D3-A5CD-CA99EC8FAC85}"/>
          </ac:picMkLst>
        </pc:picChg>
        <pc:picChg chg="add mod">
          <ac:chgData name="Daniel Barnes" userId="b303a15ee67145ed" providerId="LiveId" clId="{4A5A1811-DFF2-43F5-A7A7-22A66EF04CEB}" dt="2022-03-22T19:53:30.648" v="15973" actId="1440"/>
          <ac:picMkLst>
            <pc:docMk/>
            <pc:sldMk cId="1681281583" sldId="2145706705"/>
            <ac:picMk id="10" creationId="{4D323A5A-6436-4B65-9875-46D896711560}"/>
          </ac:picMkLst>
        </pc:picChg>
        <pc:picChg chg="add mod">
          <ac:chgData name="Daniel Barnes" userId="b303a15ee67145ed" providerId="LiveId" clId="{4A5A1811-DFF2-43F5-A7A7-22A66EF04CEB}" dt="2022-04-03T12:49:07.138" v="22191" actId="108"/>
          <ac:picMkLst>
            <pc:docMk/>
            <pc:sldMk cId="1681281583" sldId="2145706705"/>
            <ac:picMk id="12" creationId="{AF7CE297-E8D5-47EE-A874-5A05AD52E1AC}"/>
          </ac:picMkLst>
        </pc:picChg>
      </pc:sldChg>
      <pc:sldChg chg="addSp delSp modSp new del mod modClrScheme chgLayout">
        <pc:chgData name="Daniel Barnes" userId="b303a15ee67145ed" providerId="LiveId" clId="{4A5A1811-DFF2-43F5-A7A7-22A66EF04CEB}" dt="2022-04-03T10:09:10.075" v="19772" actId="47"/>
        <pc:sldMkLst>
          <pc:docMk/>
          <pc:sldMk cId="2051228067" sldId="2145706706"/>
        </pc:sldMkLst>
        <pc:spChg chg="del mod ord">
          <ac:chgData name="Daniel Barnes" userId="b303a15ee67145ed" providerId="LiveId" clId="{4A5A1811-DFF2-43F5-A7A7-22A66EF04CEB}" dt="2022-04-03T10:04:06.899" v="19553" actId="700"/>
          <ac:spMkLst>
            <pc:docMk/>
            <pc:sldMk cId="2051228067" sldId="2145706706"/>
            <ac:spMk id="2" creationId="{F86C5106-86DC-41EA-A99A-B9E169106465}"/>
          </ac:spMkLst>
        </pc:spChg>
        <pc:spChg chg="del mod ord">
          <ac:chgData name="Daniel Barnes" userId="b303a15ee67145ed" providerId="LiveId" clId="{4A5A1811-DFF2-43F5-A7A7-22A66EF04CEB}" dt="2022-04-03T10:04:06.899" v="19553" actId="700"/>
          <ac:spMkLst>
            <pc:docMk/>
            <pc:sldMk cId="2051228067" sldId="2145706706"/>
            <ac:spMk id="3" creationId="{E364510D-238E-4808-8287-24FAEB020DDE}"/>
          </ac:spMkLst>
        </pc:spChg>
        <pc:spChg chg="add mod ord">
          <ac:chgData name="Daniel Barnes" userId="b303a15ee67145ed" providerId="LiveId" clId="{4A5A1811-DFF2-43F5-A7A7-22A66EF04CEB}" dt="2022-04-03T10:04:06.899" v="19553" actId="700"/>
          <ac:spMkLst>
            <pc:docMk/>
            <pc:sldMk cId="2051228067" sldId="2145706706"/>
            <ac:spMk id="4" creationId="{933F1F3B-5659-4382-A875-746A948B5B70}"/>
          </ac:spMkLst>
        </pc:spChg>
        <pc:spChg chg="add mod ord">
          <ac:chgData name="Daniel Barnes" userId="b303a15ee67145ed" providerId="LiveId" clId="{4A5A1811-DFF2-43F5-A7A7-22A66EF04CEB}" dt="2022-04-03T10:04:57.474" v="19559" actId="20577"/>
          <ac:spMkLst>
            <pc:docMk/>
            <pc:sldMk cId="2051228067" sldId="2145706706"/>
            <ac:spMk id="5" creationId="{5FB27869-D0F1-4720-830E-DA7D1C53D881}"/>
          </ac:spMkLst>
        </pc:spChg>
        <pc:spChg chg="add mod ord">
          <ac:chgData name="Daniel Barnes" userId="b303a15ee67145ed" providerId="LiveId" clId="{4A5A1811-DFF2-43F5-A7A7-22A66EF04CEB}" dt="2022-04-03T10:04:54.286" v="19556" actId="20577"/>
          <ac:spMkLst>
            <pc:docMk/>
            <pc:sldMk cId="2051228067" sldId="2145706706"/>
            <ac:spMk id="6" creationId="{8BBE2621-8B01-4CF3-9AD8-12B7FCC3275F}"/>
          </ac:spMkLst>
        </pc:spChg>
        <pc:spChg chg="add mod ord">
          <ac:chgData name="Daniel Barnes" userId="b303a15ee67145ed" providerId="LiveId" clId="{4A5A1811-DFF2-43F5-A7A7-22A66EF04CEB}" dt="2022-04-03T10:04:58.052" v="19560" actId="20577"/>
          <ac:spMkLst>
            <pc:docMk/>
            <pc:sldMk cId="2051228067" sldId="2145706706"/>
            <ac:spMk id="7" creationId="{C1F2C662-6A3C-4645-801B-652247F9B1F9}"/>
          </ac:spMkLst>
        </pc:spChg>
        <pc:spChg chg="add mod ord">
          <ac:chgData name="Daniel Barnes" userId="b303a15ee67145ed" providerId="LiveId" clId="{4A5A1811-DFF2-43F5-A7A7-22A66EF04CEB}" dt="2022-04-03T10:04:55.043" v="19557" actId="20577"/>
          <ac:spMkLst>
            <pc:docMk/>
            <pc:sldMk cId="2051228067" sldId="2145706706"/>
            <ac:spMk id="8" creationId="{76E962A2-4BA9-4D71-9C50-CFAA6E569BD4}"/>
          </ac:spMkLst>
        </pc:spChg>
        <pc:spChg chg="add mod ord">
          <ac:chgData name="Daniel Barnes" userId="b303a15ee67145ed" providerId="LiveId" clId="{4A5A1811-DFF2-43F5-A7A7-22A66EF04CEB}" dt="2022-04-03T10:04:59.188" v="19561" actId="20577"/>
          <ac:spMkLst>
            <pc:docMk/>
            <pc:sldMk cId="2051228067" sldId="2145706706"/>
            <ac:spMk id="9" creationId="{7EE8EE5B-E15E-4237-9024-7FFC976B623A}"/>
          </ac:spMkLst>
        </pc:spChg>
        <pc:spChg chg="add mod ord">
          <ac:chgData name="Daniel Barnes" userId="b303a15ee67145ed" providerId="LiveId" clId="{4A5A1811-DFF2-43F5-A7A7-22A66EF04CEB}" dt="2022-04-03T10:04:56.114" v="19558" actId="20577"/>
          <ac:spMkLst>
            <pc:docMk/>
            <pc:sldMk cId="2051228067" sldId="2145706706"/>
            <ac:spMk id="10" creationId="{6E5A144C-220F-431A-85A9-DB3EAD02DB31}"/>
          </ac:spMkLst>
        </pc:spChg>
      </pc:sldChg>
      <pc:sldChg chg="modSp add mod ord">
        <pc:chgData name="Daniel Barnes" userId="b303a15ee67145ed" providerId="LiveId" clId="{4A5A1811-DFF2-43F5-A7A7-22A66EF04CEB}" dt="2022-04-03T13:02:00.294" v="22349" actId="20577"/>
        <pc:sldMkLst>
          <pc:docMk/>
          <pc:sldMk cId="2992863659" sldId="2145706706"/>
        </pc:sldMkLst>
        <pc:spChg chg="mod">
          <ac:chgData name="Daniel Barnes" userId="b303a15ee67145ed" providerId="LiveId" clId="{4A5A1811-DFF2-43F5-A7A7-22A66EF04CEB}" dt="2022-04-03T13:02:00.294" v="22349" actId="20577"/>
          <ac:spMkLst>
            <pc:docMk/>
            <pc:sldMk cId="2992863659" sldId="2145706706"/>
            <ac:spMk id="2" creationId="{0107FA66-646B-42C0-A453-9C2949F7188C}"/>
          </ac:spMkLst>
        </pc:spChg>
      </pc:sldChg>
      <pc:sldMasterChg chg="modSp mod">
        <pc:chgData name="Daniel Barnes" userId="b303a15ee67145ed" providerId="LiveId" clId="{4A5A1811-DFF2-43F5-A7A7-22A66EF04CEB}" dt="2022-03-13T19:18:43.696" v="218" actId="207"/>
        <pc:sldMasterMkLst>
          <pc:docMk/>
          <pc:sldMasterMk cId="1901136218" sldId="2147483962"/>
        </pc:sldMasterMkLst>
        <pc:spChg chg="mod">
          <ac:chgData name="Daniel Barnes" userId="b303a15ee67145ed" providerId="LiveId" clId="{4A5A1811-DFF2-43F5-A7A7-22A66EF04CEB}" dt="2022-03-13T19:18:43.696" v="218" actId="207"/>
          <ac:spMkLst>
            <pc:docMk/>
            <pc:sldMasterMk cId="1901136218" sldId="2147483962"/>
            <ac:spMk id="15" creationId="{FD18D95E-D14C-49B6-A919-7539183DEE59}"/>
          </ac:spMkLst>
        </pc:spChg>
        <pc:grpChg chg="mod">
          <ac:chgData name="Daniel Barnes" userId="b303a15ee67145ed" providerId="LiveId" clId="{4A5A1811-DFF2-43F5-A7A7-22A66EF04CEB}" dt="2022-03-13T19:18:39.806" v="217" actId="1076"/>
          <ac:grpSpMkLst>
            <pc:docMk/>
            <pc:sldMasterMk cId="1901136218" sldId="2147483962"/>
            <ac:grpSpMk id="14" creationId="{DF1B6CA0-D459-4178-9536-D92161121E6D}"/>
          </ac:grpSpMkLst>
        </pc:gr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04/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8/04/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github.com/karthik93811/IBM-Data_Science_Professional_Certificate/blob/main/10.%20Applied%20Data%20Science%20Capstone/03.%20Exploratory%20Data%20Analysis/03.%20Exploratory%20Data%20Analysis%20-%20Data%20Visualization.ipynb" TargetMode="External"/><Relationship Id="rId2" Type="http://schemas.openxmlformats.org/officeDocument/2006/relationships/image" Target="../media/image10.jp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hyperlink" Target="https://github.com/karthik93811/IBM-Data_Science_Professional_Certificate/blob/main/10.%20Applied%20Data%20Science%20Capstone/03.%20Exploratory%20Data%20Analysis/03.%20Exploratory%20Data%20Analysis%20-%20SQL.ipynb" TargetMode="External"/><Relationship Id="rId2" Type="http://schemas.openxmlformats.org/officeDocument/2006/relationships/image" Target="../media/image10.jp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karthik93811/IBM-Data_Science_Professional_Certificate/blob/main/10.%20Applied%20Data%20Science%20Capstone/04.%20Interactive%20Visual%20Analytics/04.%20Interactive%20Visual%20Analytics%20-%20Folium.ipynb" TargetMode="External"/><Relationship Id="rId2" Type="http://schemas.openxmlformats.org/officeDocument/2006/relationships/image" Target="../media/image10.jp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karthik93811/IBM-Data_Science_Professional_Certificate/blob/main/10.%20Applied%20Data%20Science%20Capstone/04.%20Interactive%20Visual%20Analytics/04.%20Interactive%20Visual%20Analytics%20-%20Plotly%20Dash%20dashboard_%20spacex_dash_app.py" TargetMode="External"/><Relationship Id="rId2" Type="http://schemas.openxmlformats.org/officeDocument/2006/relationships/image" Target="../media/image10.jp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hyperlink" Target="https://github.com/karthik93811/IBM-Data_Science_Professional_Certificate/blob/main/10.%20Applied%20Data%20Science%20Capstone/05.%20Predictive%20Analysis%20(Classification)/05.%20Predictive%20Analysis%20(Classification).ipynb" TargetMode="External"/><Relationship Id="rId2" Type="http://schemas.openxmlformats.org/officeDocument/2006/relationships/image" Target="../media/image10.jp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0.jp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10.jp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0.jp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16.xml"/><Relationship Id="rId3" Type="http://schemas.openxmlformats.org/officeDocument/2006/relationships/tags" Target="../tags/tag4.xml"/><Relationship Id="rId21" Type="http://schemas.openxmlformats.org/officeDocument/2006/relationships/slide" Target="slide3.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7.xml"/><Relationship Id="rId2" Type="http://schemas.openxmlformats.org/officeDocument/2006/relationships/tags" Target="../tags/tag3.xml"/><Relationship Id="rId16" Type="http://schemas.openxmlformats.org/officeDocument/2006/relationships/image" Target="../media/image10.jpg"/><Relationship Id="rId20" Type="http://schemas.openxmlformats.org/officeDocument/2006/relationships/slide" Target="slide5.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7.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10.jp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10.jp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0.jp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10.jpg"/><Relationship Id="rId1" Type="http://schemas.openxmlformats.org/officeDocument/2006/relationships/slideLayout" Target="../slideLayouts/slideLayout13.xml"/><Relationship Id="rId4" Type="http://schemas.openxmlformats.org/officeDocument/2006/relationships/image" Target="../media/image49.png"/></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0.jpg"/><Relationship Id="rId1" Type="http://schemas.openxmlformats.org/officeDocument/2006/relationships/slideLayout" Target="../slideLayouts/slideLayout13.xml"/><Relationship Id="rId4" Type="http://schemas.openxmlformats.org/officeDocument/2006/relationships/image" Target="../media/image51.png"/></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10.jpg"/><Relationship Id="rId1" Type="http://schemas.openxmlformats.org/officeDocument/2006/relationships/slideLayout" Target="../slideLayouts/slideLayout13.xml"/><Relationship Id="rId4" Type="http://schemas.openxmlformats.org/officeDocument/2006/relationships/image" Target="../media/image53.png"/></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10.jpg"/><Relationship Id="rId1" Type="http://schemas.openxmlformats.org/officeDocument/2006/relationships/slideLayout" Target="../slideLayouts/slideLayout13.xml"/><Relationship Id="rId4" Type="http://schemas.openxmlformats.org/officeDocument/2006/relationships/image" Target="../media/image55.png"/></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10.jpg"/><Relationship Id="rId1" Type="http://schemas.openxmlformats.org/officeDocument/2006/relationships/slideLayout" Target="../slideLayouts/slideLayout13.xml"/><Relationship Id="rId4" Type="http://schemas.openxmlformats.org/officeDocument/2006/relationships/image" Target="../media/image57.png"/></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10.jpg"/><Relationship Id="rId1" Type="http://schemas.openxmlformats.org/officeDocument/2006/relationships/slideLayout" Target="../slideLayouts/slideLayout13.xml"/><Relationship Id="rId4" Type="http://schemas.openxmlformats.org/officeDocument/2006/relationships/image" Target="../media/image59.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Layout" Target="../slideLayouts/slideLayout1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10.jpg"/><Relationship Id="rId1" Type="http://schemas.openxmlformats.org/officeDocument/2006/relationships/slideLayout" Target="../slideLayouts/slideLayout13.xml"/><Relationship Id="rId4" Type="http://schemas.openxmlformats.org/officeDocument/2006/relationships/image" Target="../media/image61.png"/></Relationships>
</file>

<file path=ppt/slides/_rels/slide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0.jpg"/><Relationship Id="rId1" Type="http://schemas.openxmlformats.org/officeDocument/2006/relationships/slideLayout" Target="../slideLayouts/slideLayout13.xml"/><Relationship Id="rId4" Type="http://schemas.openxmlformats.org/officeDocument/2006/relationships/image" Target="../media/image63.png"/></Relationships>
</file>

<file path=ppt/slides/_rels/slide3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Layout" Target="../slideLayouts/slideLayout13.xml"/><Relationship Id="rId1" Type="http://schemas.openxmlformats.org/officeDocument/2006/relationships/themeOverride" Target="../theme/themeOverride1.xml"/><Relationship Id="rId5" Type="http://schemas.openxmlformats.org/officeDocument/2006/relationships/image" Target="../media/image65.png"/><Relationship Id="rId4" Type="http://schemas.openxmlformats.org/officeDocument/2006/relationships/image" Target="../media/image64.png"/></Relationships>
</file>

<file path=ppt/slides/_rels/slide3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10.jpg"/><Relationship Id="rId1" Type="http://schemas.openxmlformats.org/officeDocument/2006/relationships/slideLayout" Target="../slideLayouts/slideLayout13.xml"/><Relationship Id="rId4" Type="http://schemas.openxmlformats.org/officeDocument/2006/relationships/image" Target="../media/image67.png"/></Relationships>
</file>

<file path=ppt/slides/_rels/slide3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10.jpg"/><Relationship Id="rId1" Type="http://schemas.openxmlformats.org/officeDocument/2006/relationships/slideLayout" Target="../slideLayouts/slideLayout13.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36.xml.rels><?xml version="1.0" encoding="UTF-8" standalone="yes"?>
<Relationships xmlns="http://schemas.openxmlformats.org/package/2006/relationships"><Relationship Id="rId8" Type="http://schemas.openxmlformats.org/officeDocument/2006/relationships/image" Target="../media/image750.png"/><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image" Target="../media/image10.jpg"/><Relationship Id="rId1" Type="http://schemas.openxmlformats.org/officeDocument/2006/relationships/slideLayout" Target="../slideLayouts/slideLayout13.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10.jpg"/><Relationship Id="rId1" Type="http://schemas.openxmlformats.org/officeDocument/2006/relationships/slideLayout" Target="../slideLayouts/slideLayout13.xml"/><Relationship Id="rId5" Type="http://schemas.openxmlformats.org/officeDocument/2006/relationships/image" Target="../media/image79.png"/><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10.jp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15.png"/></Relationships>
</file>

<file path=ppt/slides/_rels/slide4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Layout" Target="../slideLayouts/slideLayout13.xml"/><Relationship Id="rId1" Type="http://schemas.openxmlformats.org/officeDocument/2006/relationships/themeOverride" Target="../theme/themeOverride2.xml"/><Relationship Id="rId5" Type="http://schemas.openxmlformats.org/officeDocument/2006/relationships/image" Target="../media/image810.png"/><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10.jpg"/><Relationship Id="rId1" Type="http://schemas.openxmlformats.org/officeDocument/2006/relationships/slideLayout" Target="../slideLayouts/slideLayout13.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4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0.jpg"/><Relationship Id="rId1" Type="http://schemas.openxmlformats.org/officeDocument/2006/relationships/slideLayout" Target="../slideLayouts/slideLayout13.xml"/><Relationship Id="rId5" Type="http://schemas.openxmlformats.org/officeDocument/2006/relationships/image" Target="../media/image88.png"/><Relationship Id="rId4" Type="http://schemas.openxmlformats.org/officeDocument/2006/relationships/image" Target="../media/image87.png"/></Relationships>
</file>

<file path=ppt/slides/_rels/slide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47.png"/><Relationship Id="rId7" Type="http://schemas.openxmlformats.org/officeDocument/2006/relationships/image" Target="../media/image88.png"/><Relationship Id="rId2" Type="http://schemas.openxmlformats.org/officeDocument/2006/relationships/image" Target="../media/image10.jpg"/><Relationship Id="rId1" Type="http://schemas.openxmlformats.org/officeDocument/2006/relationships/slideLayout" Target="../slideLayouts/slideLayout13.xml"/><Relationship Id="rId6" Type="http://schemas.openxmlformats.org/officeDocument/2006/relationships/image" Target="../media/image84.png"/><Relationship Id="rId5" Type="http://schemas.openxmlformats.org/officeDocument/2006/relationships/image" Target="../media/image80.png"/><Relationship Id="rId4" Type="http://schemas.openxmlformats.org/officeDocument/2006/relationships/image" Target="../media/image44.png"/></Relationships>
</file>

<file path=ppt/slides/_rels/slide4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0.jpg"/><Relationship Id="rId1" Type="http://schemas.openxmlformats.org/officeDocument/2006/relationships/slideLayout" Target="../slideLayouts/slideLayout13.xml"/><Relationship Id="rId5" Type="http://schemas.openxmlformats.org/officeDocument/2006/relationships/image" Target="../media/image91.png"/><Relationship Id="rId4" Type="http://schemas.openxmlformats.org/officeDocument/2006/relationships/image" Target="../media/image90.png"/></Relationships>
</file>

<file path=ppt/slides/_rels/slide4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10.jpg"/><Relationship Id="rId1" Type="http://schemas.openxmlformats.org/officeDocument/2006/relationships/slideLayout" Target="../slideLayouts/slideLayout13.xml"/><Relationship Id="rId4" Type="http://schemas.openxmlformats.org/officeDocument/2006/relationships/image" Target="../media/image93.png"/></Relationships>
</file>

<file path=ppt/slides/_rels/slide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hyperlink" Target="https://github.com/karthik93811/IBM-Data_Science_Professional_Certificate/blob/main/10.%20Applied%20Data%20Science%20Capstone/01.%20Data%20Collection/01.%20Data%20Collection%20-%20API.ipynb" TargetMode="External"/><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image" Target="../media/image10.jpg"/><Relationship Id="rId1" Type="http://schemas.openxmlformats.org/officeDocument/2006/relationships/slideLayout" Target="../slideLayouts/slideLayout13.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10.jpg"/><Relationship Id="rId1" Type="http://schemas.openxmlformats.org/officeDocument/2006/relationships/slideLayout" Target="../slideLayouts/slideLayout13.xml"/><Relationship Id="rId6" Type="http://schemas.openxmlformats.org/officeDocument/2006/relationships/image" Target="../media/image29.png"/><Relationship Id="rId5" Type="http://schemas.openxmlformats.org/officeDocument/2006/relationships/image" Target="../media/image28.png"/><Relationship Id="rId10" Type="http://schemas.openxmlformats.org/officeDocument/2006/relationships/hyperlink" Target="https://github.com/karthik93811/IBM-Data_Science_Professional_Certificate/blob/main/10.%20Applied%20Data%20Science%20Capstone/01.%20Data%20Collection/01.%20Data%20Collection%20-%20Web%20Scraping.ipynb" TargetMode="External"/><Relationship Id="rId4" Type="http://schemas.openxmlformats.org/officeDocument/2006/relationships/image" Target="../media/image27.png"/><Relationship Id="rId9" Type="http://schemas.openxmlformats.org/officeDocument/2006/relationships/image" Target="../media/image32.png"/></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hyperlink" Target="https://github.com/karthik93811/IBM-Data_Science_Professional_Certificate/blob/main/10.%20Applied%20Data%20Science%20Capstone/02.%20Data%20Wrangling/02.%20Data%20Wrangling.ipynb" TargetMode="External"/><Relationship Id="rId2" Type="http://schemas.openxmlformats.org/officeDocument/2006/relationships/image" Target="../media/image10.jpg"/><Relationship Id="rId1" Type="http://schemas.openxmlformats.org/officeDocument/2006/relationships/slideLayout" Target="../slideLayouts/slideLayout1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hyperlink" Target="https://github.com/karthik93811/IBM-Data_Science_Professional_Certificate/blob/main/10.%20Applied%20Data%20Science%20Capstone/02.%20Data%20Wrangling/02.%20Data%20Wrangling.ipynb" TargetMode="External"/><Relationship Id="rId2" Type="http://schemas.openxmlformats.org/officeDocument/2006/relationships/image" Target="../media/image10.jpg"/><Relationship Id="rId1" Type="http://schemas.openxmlformats.org/officeDocument/2006/relationships/slideLayout" Target="../slideLayouts/slideLayout1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3447098"/>
          </a:xfrm>
        </p:spPr>
        <p:txBody>
          <a:bodyPr/>
          <a:lstStyle/>
          <a:p>
            <a:r>
              <a:rPr lang="en-US" sz="2400" dirty="0"/>
              <a:t>Space X Falcon 9 Landing Analysis</a:t>
            </a:r>
          </a:p>
          <a:p>
            <a:endParaRPr lang="en-US" dirty="0"/>
          </a:p>
          <a:p>
            <a:endParaRPr lang="en-US" dirty="0"/>
          </a:p>
          <a:p>
            <a:endParaRPr lang="en-US" dirty="0"/>
          </a:p>
          <a:p>
            <a:r>
              <a:rPr lang="en-US" dirty="0"/>
              <a:t>Karthik Avula </a:t>
            </a:r>
          </a:p>
          <a:p>
            <a:r>
              <a:rPr lang="en-US" dirty="0"/>
              <a:t>8</a:t>
            </a:r>
            <a:r>
              <a:rPr lang="en-US" baseline="30000" dirty="0"/>
              <a:t>th</a:t>
            </a:r>
            <a:r>
              <a:rPr lang="en-US" dirty="0"/>
              <a:t> April | 2023</a:t>
            </a:r>
          </a:p>
          <a:p>
            <a:endParaRPr lang="en-US" dirty="0">
              <a:solidFill>
                <a:schemeClr val="accent6">
                  <a:lumMod val="75000"/>
                </a:schemeClr>
              </a:solidFill>
            </a:endParaRPr>
          </a:p>
          <a:p>
            <a:endParaRPr lang="en-US" dirty="0"/>
          </a:p>
          <a:p>
            <a:endParaRPr lang="en-US" dirty="0"/>
          </a:p>
        </p:txBody>
      </p:sp>
      <p:pic>
        <p:nvPicPr>
          <p:cNvPr id="7" name="Picture 2" descr="IBM Skills Network Logo - Horizontal-noai copy.png">
            <a:extLst>
              <a:ext uri="{FF2B5EF4-FFF2-40B4-BE49-F238E27FC236}">
                <a16:creationId xmlns:a16="http://schemas.microsoft.com/office/drawing/2014/main" id="{534E31D9-DAC4-3A7E-847A-9BA3BC25E3C4}"/>
              </a:ext>
            </a:extLst>
          </p:cNvPr>
          <p:cNvPicPr>
            <a:picLocks noChangeAspect="1"/>
          </p:cNvPicPr>
          <p:nvPr/>
        </p:nvPicPr>
        <p:blipFill>
          <a:blip r:embed="rId3"/>
          <a:stretch>
            <a:fillRect/>
          </a:stretch>
        </p:blipFill>
        <p:spPr>
          <a:xfrm>
            <a:off x="119336" y="110346"/>
            <a:ext cx="2104103" cy="629183"/>
          </a:xfrm>
          <a:prstGeom prst="rect">
            <a:avLst/>
          </a:prstGeom>
        </p:spPr>
      </p:pic>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23374A1-69B3-C73B-FE5E-FB5779FB44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29" y="0"/>
            <a:ext cx="12246429" cy="6858000"/>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3"/>
              </a:rPr>
              <a:t>GitHub Link</a:t>
            </a:r>
            <a:endParaRPr lang="en-GB" sz="1000" dirty="0"/>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EFCA309-0386-2C58-D54A-5156174134C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360" y="5202"/>
            <a:ext cx="12237139" cy="6852798"/>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3"/>
              </a:rPr>
              <a:t>GitHub Link</a:t>
            </a:r>
            <a:endParaRPr lang="en-GB" sz="1000" dirty="0"/>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688E58F-A6D1-99C4-E39E-14A9F7AE97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329" y="-27384"/>
            <a:ext cx="12295329" cy="6885384"/>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3"/>
              </a:rPr>
              <a:t>GitHub Link</a:t>
            </a:r>
            <a:endParaRPr lang="en-GB" sz="1000" dirty="0"/>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7DE08CB-766F-0AC2-DA36-A9380BC28D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793" y="0"/>
            <a:ext cx="12246429" cy="6858000"/>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3"/>
              </a:rPr>
              <a:t>GitHub Link</a:t>
            </a:r>
            <a:endParaRPr lang="en-GB" sz="1000" dirty="0"/>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E845666-592E-C650-0D4E-A4B837C9EF3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625" y="6986"/>
            <a:ext cx="12282852" cy="6878397"/>
          </a:xfrm>
          <a:prstGeom prst="rect">
            <a:avLst/>
          </a:prstGeom>
        </p:spPr>
      </p:pic>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3"/>
              </a:rPr>
              <a:t>GitHub Link</a:t>
            </a:r>
            <a:endParaRPr lang="en-GB" sz="1000" dirty="0"/>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F02C528-95ED-A36D-AEB3-507139C809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83" y="-99392"/>
            <a:ext cx="12423914" cy="6957392"/>
          </a:xfrm>
          <a:prstGeom prst="rect">
            <a:avLst/>
          </a:prstGeom>
        </p:spPr>
      </p:pic>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3"/>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A09A12D-97CC-B478-E893-5D5EF7560F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675" y="5202"/>
            <a:ext cx="12237139" cy="6852798"/>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F8EE448-81DF-594F-A915-8D733FB81EE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020" y="3028"/>
            <a:ext cx="12241020" cy="6854971"/>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D26EE9A-C6F8-04FD-395B-F7C83F1864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980" y="0"/>
            <a:ext cx="12246429" cy="6858000"/>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81EEDCC-616E-DB78-8F89-550906F632B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29" y="0"/>
            <a:ext cx="12246429" cy="6858000"/>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BC0025D-DF0C-F472-AAEA-6FBF93AAD0D2}"/>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4429" y="0"/>
            <a:ext cx="12246429" cy="6858000"/>
          </a:xfrm>
          <a:prstGeom prst="rect">
            <a:avLst/>
          </a:prstGeom>
        </p:spPr>
      </p:pic>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7"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7"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8"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8"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9"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9"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20"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20"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1"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1"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ADE7340-0C78-5F18-C174-7CE168C2C0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139" y="5202"/>
            <a:ext cx="12237139" cy="6852798"/>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E058A98-116B-D0B8-3B26-3FD8FF8495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284" y="11280"/>
            <a:ext cx="12226284" cy="6846719"/>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6B083B9-0A32-3077-DA2C-4918D90BBC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629" y="23856"/>
            <a:ext cx="12203827" cy="6834143"/>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AB26FF4-8DA5-60BD-3EB2-BD751F9BCE5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29" y="0"/>
            <a:ext cx="12246429" cy="6858000"/>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64F70D-F6BC-4167-B2B9-F597298446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4140" y="0"/>
            <a:ext cx="12681086" cy="7101408"/>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3"/>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CAE2B58-F5E0-290F-0A12-91ED92CFF0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257" y="0"/>
            <a:ext cx="12166743" cy="6813376"/>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4"/>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4D4C9F-1B4E-49B1-E362-226254D3952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29" y="0"/>
            <a:ext cx="12246429" cy="6858000"/>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4"/>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EA470AA-88EB-BD93-8A81-DF93B16CDE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527" y="0"/>
            <a:ext cx="12246429" cy="6858000"/>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3"/>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B5C7D52-44FB-593E-9316-EF9D5EE413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044" y="0"/>
            <a:ext cx="12246429" cy="6858000"/>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4"/>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935D77-F56C-3D00-7BAF-F5FDA0150D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202" y="0"/>
            <a:ext cx="12246429" cy="6858000"/>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4"/>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5461D1A6-48DC-50ED-2447-9506B7A380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3057" y="-55232"/>
            <a:ext cx="12345057" cy="6913232"/>
          </a:xfrm>
          <a:prstGeom prst="rect">
            <a:avLst/>
          </a:prstGeom>
        </p:spPr>
      </p:pic>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4"/>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5"/>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6"/>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71F52F3-2E8B-2AA8-6DB5-F2174235A7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996" y="16482"/>
            <a:ext cx="12216996" cy="6841518"/>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4"/>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502BF68-3235-F409-949A-787AE6F4CD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164" y="35838"/>
            <a:ext cx="12182430" cy="6822161"/>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4"/>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92D2C10-36C5-DAF9-6E2D-A486A10A5E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48" y="26028"/>
            <a:ext cx="12199948" cy="6831971"/>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5"/>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8FDA123-B595-B75A-24D8-579773482B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202" y="0"/>
            <a:ext cx="12246429" cy="6858000"/>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4"/>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0FED8FD-5CF7-2AF2-A05F-6D6F1D435A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139" y="5202"/>
            <a:ext cx="12237139" cy="6852798"/>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3E11F0C-4C58-7E80-E1C9-0037C5AA2D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4707" y="-29564"/>
            <a:ext cx="12476707" cy="6986956"/>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3"/>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4"/>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5"/>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6"/>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DD51BF1-2016-745C-8B6A-745E5036F3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607" y="0"/>
            <a:ext cx="12246429" cy="6858000"/>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3"/>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4"/>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5"/>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6"/>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7"/>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8"/>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962A6B3-6A45-DB9A-11F2-DF5A569432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29" y="0"/>
            <a:ext cx="12246429" cy="6858000"/>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3"/>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4"/>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5"/>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BD549B-D00F-2760-B3AF-27B513E4DA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29" y="0"/>
            <a:ext cx="12246429" cy="6858000"/>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9C73BA5-67B7-755B-D8F2-C3585EDF5E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971" y="12576"/>
            <a:ext cx="12223971" cy="6845424"/>
          </a:xfrm>
          <a:prstGeom prst="rect">
            <a:avLst/>
          </a:prstGeom>
        </p:spPr>
      </p:pic>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3"/>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5DCDF-C140-225D-1B29-F00B24CCE2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905" y="9048"/>
            <a:ext cx="12246429" cy="6858000"/>
          </a:xfrm>
          <a:prstGeom prst="rect">
            <a:avLst/>
          </a:prstGeom>
        </p:spPr>
      </p:pic>
      <p:pic>
        <p:nvPicPr>
          <p:cNvPr id="4" name="Picture 3">
            <a:extLst>
              <a:ext uri="{FF2B5EF4-FFF2-40B4-BE49-F238E27FC236}">
                <a16:creationId xmlns:a16="http://schemas.microsoft.com/office/drawing/2014/main" id="{2A13ED2D-1472-2740-DBC9-5B403E63C3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29" y="0"/>
            <a:ext cx="12246429" cy="6858000"/>
          </a:xfrm>
          <a:prstGeom prst="rect">
            <a:avLst/>
          </a:prstGeom>
        </p:spPr>
      </p:pic>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11047" y="34594"/>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6" name="Picture 5">
            <a:extLst>
              <a:ext uri="{FF2B5EF4-FFF2-40B4-BE49-F238E27FC236}">
                <a16:creationId xmlns:a16="http://schemas.microsoft.com/office/drawing/2014/main" id="{F87AC782-F872-84F0-C6EF-AF05EB84B6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34500" y="4763"/>
            <a:ext cx="2857500" cy="1600200"/>
          </a:xfrm>
          <a:prstGeom prst="rect">
            <a:avLst/>
          </a:prstGeom>
        </p:spPr>
      </p:pic>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4"/>
          <a:stretch>
            <a:fillRect/>
          </a:stretch>
        </p:blipFill>
        <p:spPr>
          <a:xfrm>
            <a:off x="6691112" y="9048"/>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0B2DD03-6FC5-7F0D-9EBC-EBC090AEEF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031" y="25217"/>
            <a:ext cx="12156368" cy="6807566"/>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4"/>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5"/>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EA18D81-A331-DA9D-2873-CE175F1820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707" y="-1"/>
            <a:ext cx="12201398" cy="6832783"/>
          </a:xfrm>
          <a:prstGeom prst="rect">
            <a:avLst/>
          </a:prstGeom>
        </p:spPr>
      </p:pic>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3"/>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4"/>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5"/>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6"/>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E0D697B-A3B6-5BFA-9625-40490B465B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48" y="26028"/>
            <a:ext cx="12199948" cy="6831971"/>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A48F1B-BBF4-408D-4C3B-C6F98BEF017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314" y="15184"/>
            <a:ext cx="12219314" cy="6842816"/>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3"/>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A813B99-16A4-612A-CE66-0835DFFAF2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29" y="0"/>
            <a:ext cx="12246429" cy="6858000"/>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8E38B9F-E873-17E6-77F5-A9F25682189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664" y="988"/>
            <a:ext cx="12244664" cy="6857012"/>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D7493E5-B788-BBDA-B518-790F919661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7161" y="28648"/>
            <a:ext cx="12372757" cy="6928744"/>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5"/>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6"/>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4D4E34-71E6-02DA-E1E7-2179081A26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7891" y="13452"/>
            <a:ext cx="12399891" cy="6943939"/>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8F8DD65-8BBC-9936-842C-B7AA9528222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29" y="0"/>
            <a:ext cx="12246429" cy="6858000"/>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3"/>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4"/>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5"/>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BDC03AF-E758-92AA-C0B5-FCB3CBE8F5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33" y="9108"/>
            <a:ext cx="12230164" cy="6848892"/>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3">
            <a:extLst>
              <a:ext uri="{28A0092B-C50C-407E-A947-70E740481C1C}">
                <a14:useLocalDpi xmlns:a14="http://schemas.microsoft.com/office/drawing/2010/main" val="0"/>
              </a:ext>
            </a:extLst>
          </a:blip>
          <a:srcRect l="3543" t="4850" r="39069" b="2751"/>
          <a:stretch/>
        </p:blipFill>
        <p:spPr>
          <a:xfrm>
            <a:off x="8256240" y="512188"/>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4">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114AFD-1EE5-B0B7-245E-102CD8C483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680" y="0"/>
            <a:ext cx="12207243" cy="6836056"/>
          </a:xfrm>
          <a:prstGeom prst="rect">
            <a:avLst/>
          </a:prstGeom>
        </p:spPr>
      </p:pic>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B14EB04-C4CD-20AE-84F3-3DE766B997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8696" y="0"/>
            <a:ext cx="12246429" cy="6858000"/>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3"/>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4"/>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3"/>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5"/>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6"/>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7"/>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8"/>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9"/>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10"/>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1"/>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2"/>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a:extLst>
              <a:ext uri="{FF2B5EF4-FFF2-40B4-BE49-F238E27FC236}">
                <a16:creationId xmlns:a16="http://schemas.microsoft.com/office/drawing/2014/main"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13"/>
              </a:rPr>
              <a:t>GitHub Link</a:t>
            </a:r>
            <a:endParaRPr lang="en-GB" sz="1000" dirty="0"/>
          </a:p>
        </p:txBody>
      </p:sp>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4D82877-428E-F346-E800-606DFCD5C1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4071" y="-23608"/>
            <a:ext cx="12466071" cy="6981000"/>
          </a:xfrm>
          <a:prstGeom prst="rect">
            <a:avLst/>
          </a:prstGeom>
        </p:spPr>
      </p:pic>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3"/>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4"/>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5"/>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6"/>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7"/>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8"/>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9"/>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a:extLst>
              <a:ext uri="{FF2B5EF4-FFF2-40B4-BE49-F238E27FC236}">
                <a16:creationId xmlns:a16="http://schemas.microsoft.com/office/drawing/2014/main" id="{1371C763-D6D4-4861-9156-C410030BD15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10"/>
              </a:rPr>
              <a:t>GitHub Link</a:t>
            </a:r>
            <a:endParaRPr lang="en-GB" sz="1000" dirty="0"/>
          </a:p>
        </p:txBody>
      </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D2A448-646C-0201-4D56-C74274BEB7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779" y="16044"/>
            <a:ext cx="12217779" cy="6841956"/>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3"/>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4"/>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5"/>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6"/>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40" name="TextBox 39">
            <a:extLst>
              <a:ext uri="{FF2B5EF4-FFF2-40B4-BE49-F238E27FC236}">
                <a16:creationId xmlns:a16="http://schemas.microsoft.com/office/drawing/2014/main" id="{D829FF44-11A7-4AC8-842C-90953009D05A}"/>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7"/>
              </a:rPr>
              <a:t>GitHub Link</a:t>
            </a:r>
            <a:endParaRPr lang="en-GB" sz="1000" dirty="0"/>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BD2697A-EC59-DBF9-8DD5-A9D1AE528EA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2557" y="-28360"/>
            <a:ext cx="12474557" cy="6985752"/>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3"/>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4"/>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5"/>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6"/>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a:extLst>
              <a:ext uri="{FF2B5EF4-FFF2-40B4-BE49-F238E27FC236}">
                <a16:creationId xmlns:a16="http://schemas.microsoft.com/office/drawing/2014/main"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7"/>
              </a:rPr>
              <a:t>GitHub Link</a:t>
            </a:r>
            <a:endParaRPr lang="en-GB" sz="1000" dirty="0"/>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8765F6DA-EDFD-4C3F-B2EB-EDE359E124E2}">
  <ds:schemaRefs>
    <ds:schemaRef ds:uri="http://purl.org/dc/elements/1.1/"/>
    <ds:schemaRef ds:uri="http://schemas.openxmlformats.org/package/2006/metadata/core-properties"/>
    <ds:schemaRef ds:uri="http://www.w3.org/XML/1998/namespace"/>
    <ds:schemaRef ds:uri="http://schemas.microsoft.com/office/2006/documentManagement/types"/>
    <ds:schemaRef ds:uri="85ebd0df-9687-47ef-b5a5-617eb7dd465e"/>
    <ds:schemaRef ds:uri="http://purl.org/dc/dcmitype/"/>
    <ds:schemaRef ds:uri="http://purl.org/dc/terms/"/>
    <ds:schemaRef ds:uri="http://schemas.microsoft.com/office/infopath/2007/PartnerControls"/>
    <ds:schemaRef ds:uri="866c9c41-2c2c-4d95-92e3-745332f54785"/>
    <ds:schemaRef ds:uri="http://schemas.microsoft.com/office/2006/metadata/properties"/>
  </ds:schemaRefs>
</ds:datastoreItem>
</file>

<file path=customXml/itemProps3.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1131</TotalTime>
  <Words>3762</Words>
  <Application>Microsoft Office PowerPoint</Application>
  <PresentationFormat>Widescreen</PresentationFormat>
  <Paragraphs>506</Paragraphs>
  <Slides>49</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karthik Avula</cp:lastModifiedBy>
  <cp:revision>73</cp:revision>
  <cp:lastPrinted>2000-01-01T00:00:00Z</cp:lastPrinted>
  <dcterms:created xsi:type="dcterms:W3CDTF">2022-01-15T17:28:45Z</dcterms:created>
  <dcterms:modified xsi:type="dcterms:W3CDTF">2023-04-08T11:28:59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